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6.xml" ContentType="application/vnd.openxmlformats-officedocument.presentationml.notesSlide+xml"/>
  <Override PartName="/ppt/tags/tag112.xml" ContentType="application/vnd.openxmlformats-officedocument.presentationml.tags+xml"/>
  <Override PartName="/ppt/notesSlides/notesSlide7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  <p:sldMasterId id="2147483684" r:id="rId4"/>
    <p:sldMasterId id="2147483692" r:id="rId5"/>
    <p:sldMasterId id="2147483699" r:id="rId6"/>
  </p:sldMasterIdLst>
  <p:notesMasterIdLst>
    <p:notesMasterId r:id="rId25"/>
  </p:notesMasterIdLst>
  <p:sldIdLst>
    <p:sldId id="256" r:id="rId7"/>
    <p:sldId id="281" r:id="rId8"/>
    <p:sldId id="282" r:id="rId9"/>
    <p:sldId id="542" r:id="rId10"/>
    <p:sldId id="283" r:id="rId11"/>
    <p:sldId id="522" r:id="rId12"/>
    <p:sldId id="376" r:id="rId13"/>
    <p:sldId id="531" r:id="rId14"/>
    <p:sldId id="532" r:id="rId15"/>
    <p:sldId id="535" r:id="rId16"/>
    <p:sldId id="536" r:id="rId17"/>
    <p:sldId id="541" r:id="rId18"/>
    <p:sldId id="284" r:id="rId19"/>
    <p:sldId id="257" r:id="rId20"/>
    <p:sldId id="544" r:id="rId21"/>
    <p:sldId id="543" r:id="rId22"/>
    <p:sldId id="258" r:id="rId23"/>
    <p:sldId id="280" r:id="rId24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Heebo" pitchFamily="2" charset="-79"/>
      <p:regular r:id="rId30"/>
      <p:bold r:id="rId31"/>
    </p:embeddedFont>
    <p:embeddedFont>
      <p:font typeface="Heebo Medium" pitchFamily="2" charset="-79"/>
      <p:regular r:id="rId32"/>
      <p:bold r:id="rId33"/>
    </p:embeddedFont>
    <p:embeddedFont>
      <p:font typeface="Lato" panose="020F0502020204030203" pitchFamily="34" charset="0"/>
      <p:regular r:id="rId34"/>
      <p:bold r:id="rId35"/>
      <p:italic r:id="rId36"/>
      <p:boldItalic r:id="rId37"/>
    </p:embeddedFont>
    <p:embeddedFont>
      <p:font typeface="Montserrat" panose="00000500000000000000" pitchFamily="2" charset="0"/>
      <p:regular r:id="rId38"/>
      <p:bold r:id="rId39"/>
      <p:italic r:id="rId40"/>
      <p:boldItalic r:id="rId4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92A1FF-B24A-429C-BA61-7BE74932E16C}" v="8" dt="2022-10-29T09:26:54.2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1795" autoAdjust="0"/>
  </p:normalViewPr>
  <p:slideViewPr>
    <p:cSldViewPr snapToGrid="0">
      <p:cViewPr varScale="1">
        <p:scale>
          <a:sx n="134" d="100"/>
          <a:sy n="134" d="100"/>
        </p:scale>
        <p:origin x="182" y="91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5.xml"/><Relationship Id="rId34" Type="http://schemas.openxmlformats.org/officeDocument/2006/relationships/font" Target="fonts/font9.fntdata"/><Relationship Id="rId42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6.fntdata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microsoft.com/office/2015/10/relationships/revisionInfo" Target="revisionInfo.xml"/><Relationship Id="rId20" Type="http://schemas.openxmlformats.org/officeDocument/2006/relationships/slide" Target="slides/slide14.xml"/><Relationship Id="rId41" Type="http://schemas.openxmlformats.org/officeDocument/2006/relationships/font" Target="fonts/font1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avidson.weizmann.ac.il/online/askexpert/%D7%9E%D7%94%D7%95-%D7%97%D7%95%D7%A7-%D7%A9%D7%99%D7%9E%D7%95%D7%A8-%D7%94%D7%90%D7%A0%D7%A8%D7%92%D7%99%D7%94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avidson.weizmann.ac.il/online/askexpert/astrophysics/%D7%9E%D7%94-%D7%9E%D7%94%D7%99%D7%A8%D7%95%D7%AA-%D7%94%D7%9E%D7%99%D7%9C%D7%95%D7%98-%D7%9E%D7%9B%D7%93%D7%95%D7%A8-%D7%94%D7%90%D7%A8%D7%A5-%D7%95%D7%9C%D7%9E%D7%94-%D7%91%D7%9B%D7%9C%D7%9C-%D7%96%D7%94-%D7%AA%D7%9C%D7%95%D7%99-%D7%91%D7%9E%D7%94%D7%99%D7%A8%D7%95%D7%AA-%D7%95%D7%9C%D7%90-%D7%91%D7%9B%D7%95%D7%97-%D7%92%D7%9C%D7%A2%D7%93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g172f1788b11_2_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07" name="Google Shape;207;g172f1788b11_2_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08" name="Google Shape;208;g172f1788b11_2_75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172f1788b11_2_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20" name="Google Shape;220;g172f1788b11_2_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221" name="Google Shape;221;g172f1788b11_2_88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172f1788b11_2_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20" name="Google Shape;220;g172f1788b11_2_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221" name="Google Shape;221;g172f1788b11_2_88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7313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172f1788b11_2_1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34" name="Google Shape;234;g172f1788b11_2_1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35" name="Google Shape;235;g172f1788b11_2_101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0333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172f1788b11_2_1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34" name="Google Shape;234;g172f1788b11_2_1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235" name="Google Shape;235;g172f1788b11_2_101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g172f1788b11_2_3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538" name="Google Shape;538;g172f1788b11_2_3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539" name="Google Shape;539;g172f1788b11_2_383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gff69f9064e_0_3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85" name="Google Shape;285;gff69f9064e_0_36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gff69f9064e_0_36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w-I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gff69f9064e_0_4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96" name="Google Shape;296;gff69f9064e_0_4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gff69f9064e_0_45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w-I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gff69f9064e_0_4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96" name="Google Shape;296;gff69f9064e_0_4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gff69f9064e_0_45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w-I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4057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ff69f9064e_0_2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08" name="Google Shape;308;gff69f9064e_0_2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9" name="Google Shape;309;gff69f9064e_0_23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w-I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en-US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  <a:r>
              <a:rPr lang="he-IL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קשה ויקר מאוד לרכוש שיגור לחלל. במיוחד לחללית קטנה כמו שלנו, ועל אחת כמה וכמה לחללית שאמורה להגיע לירח. </a:t>
            </a:r>
            <a:endParaRPr lang="en-US" sz="16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algn="r" rtl="1"/>
            <a:r>
              <a:rPr lang="he-IL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אנחנו מתכננים את המשימה שלנו כך שתתאים לשיגור בכל זמן, כדי שלא נצטרך לוותר על הזדמנות לשיגור רק בגלל שהזמן לא נוח לנו.</a:t>
            </a:r>
            <a:endParaRPr lang="en-US" sz="16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algn="r" rtl="1"/>
            <a:r>
              <a:rPr lang="he-IL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להשלמת התשובה- אילו היינו יכולים לבחור, היינו מתאמים את השיגור על פי מיקום הירח סביב כדור הארץ, עונות השנה או מיקום כדור הארץ במסלולו סביב השמש אינם חשובים לתכנון המשימה שלנו.</a:t>
            </a:r>
            <a:endParaRPr lang="en-US" sz="16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algn="r"/>
            <a:endParaRPr lang="he-IL" dirty="0"/>
          </a:p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049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" name="Shape 424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5" name="Shape 425"/>
          <p:cNvSpPr txBox="1">
            <a:spLocks noGrp="1"/>
          </p:cNvSpPr>
          <p:nvPr>
            <p:ph type="body" idx="1"/>
          </p:nvPr>
        </p:nvSpPr>
        <p:spPr>
          <a:xfrm>
            <a:off x="678815" y="4775667"/>
            <a:ext cx="5430520" cy="3907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922" tIns="45449" rIns="90922" bIns="45449" anchor="t" anchorCtr="0">
            <a:noAutofit/>
          </a:bodyPr>
          <a:lstStyle/>
          <a:p>
            <a:pPr marL="157877" indent="0" algn="r" rtl="1">
              <a:buNone/>
            </a:pPr>
            <a:r>
              <a:rPr lang="he-IL" b="1" dirty="0"/>
              <a:t>שקף מומלץ לחטיבות ותיכונים</a:t>
            </a:r>
          </a:p>
          <a:p>
            <a:pPr marL="157877" indent="0" algn="r" rtl="1">
              <a:buNone/>
            </a:pPr>
            <a:r>
              <a:rPr lang="he-IL" dirty="0"/>
              <a:t>המסלול שלנו מתוכנן מראש. המסלול כולל 3 סיבובים מרכזיים (לבן ירוק ותכלת) וייקח סך הכל בערך חודשיים וחצי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המהירות של החללית משתנה עם הגובה ביחס לכדור הארץ (לאור חוק שימור האנרגיה)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כאשר מגיעים לשיא הגובה החללית מפסיקה להתרחק מכדור הארץ וזהו השלב שהמהירות הכי נמוכה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לכן, בנקודה שהכי קרובה לכדור הארץ/ לירח המהירות הכי גבוהה כי אנחנו בגובה הכי נמוך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  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מכיוון שהמסלול הוא אליפטי המהירות משתנה תוך כדי המסלול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לחללית אסור לעלות על המהירות שמעל 11 ק"מ </a:t>
            </a:r>
            <a:r>
              <a:rPr lang="he-IL" dirty="0" err="1"/>
              <a:t>לשניה</a:t>
            </a:r>
            <a:r>
              <a:rPr lang="he-IL" dirty="0"/>
              <a:t>, מכיוון שאז תעזוב את כדור הארץ ותיכנס למסלול סביב השמש- מהירות בריחה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כל עוד המהירות נמוכה ממהירות הבריחה אנחנו לא נתנתק מכוח המשיכה של כדור הארץ ונוכל להמשיך להסתובב סביבו (לכן הירח לכוד סביב כדור הארץ). </a:t>
            </a:r>
            <a:endParaRPr lang="en-US" dirty="0"/>
          </a:p>
          <a:p>
            <a:pPr marL="157877" indent="0" algn="r" rtl="1">
              <a:buNone/>
            </a:pPr>
            <a:r>
              <a:rPr lang="he-IL" b="1" dirty="0"/>
              <a:t>חשוב להדגיש:</a:t>
            </a:r>
            <a:endParaRPr lang="en-US" dirty="0"/>
          </a:p>
          <a:p>
            <a:pPr marL="157877" indent="0" algn="r" rtl="1">
              <a:buNone/>
            </a:pPr>
            <a:r>
              <a:rPr lang="he-IL" b="1" dirty="0"/>
              <a:t>מהירות החללית היא בסדר גודל של קילומטרים בודדים </a:t>
            </a:r>
            <a:r>
              <a:rPr lang="he-IL" b="1" dirty="0" err="1"/>
              <a:t>לשניה</a:t>
            </a:r>
            <a:r>
              <a:rPr lang="he-IL" b="1" dirty="0"/>
              <a:t>.</a:t>
            </a:r>
            <a:endParaRPr lang="en-US" dirty="0"/>
          </a:p>
          <a:p>
            <a:pPr marL="157877" indent="0" algn="r" rtl="1">
              <a:buNone/>
            </a:pPr>
            <a:r>
              <a:rPr lang="he-IL" b="1" dirty="0"/>
              <a:t>ככל שהגובה יותר גבוה המהירות נמוכה יותר, ולהפך, ככל שהגובה יותר נמוך המהירות מהירה יותר. 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 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לקריאה נוספת על חוק שימור האנרגיה ניתן לקרוא במכון דוידסון- </a:t>
            </a:r>
            <a:r>
              <a:rPr lang="en-US" u="sng" dirty="0">
                <a:hlinkClick r:id="rId3"/>
              </a:rPr>
              <a:t>https://davidson.weizmann.ac.il/online/askexpert/%D7%9E%D7%94%D7%95-%D7%97%D7%95%D7%A7-%D7%A9%D7%99%D7%9E%D7%95%D7%A8-%D7%94%D7%90%D7%A0%D7%A8%D7%92%D7%99%D7%94</a:t>
            </a:r>
            <a:r>
              <a:rPr lang="en-US" dirty="0"/>
              <a:t>  </a:t>
            </a:r>
          </a:p>
          <a:p>
            <a:pPr marL="157877" indent="0" algn="r" rtl="1">
              <a:buNone/>
            </a:pPr>
            <a:r>
              <a:rPr lang="he-IL" dirty="0"/>
              <a:t>לקריאה נוספת על מהירות הבריחה ניתן לקרוא במכון דוידסון-</a:t>
            </a:r>
            <a:endParaRPr lang="en-US" dirty="0"/>
          </a:p>
          <a:p>
            <a:pPr marL="157877" indent="0" algn="r" rtl="1">
              <a:buNone/>
            </a:pPr>
            <a:r>
              <a:rPr lang="en-US" u="sng" dirty="0">
                <a:hlinkClick r:id="rId4"/>
              </a:rPr>
              <a:t>https://davidson.weizmann.ac.il/online/askexpert/astrophysics/%D7%9E%D7%94-%D7%9E%D7%94%D7%99%D7%A8%D7%95%D7%AA-%D7%94%D7%9E%D7%99%D7%9C%D7%95%D7%98-%D7%9E%D7%9B%D7%93%D7%95%D7%A8-%D7%94%D7%90%D7%A8%D7%A5-%D7%95%D7%9C%D7%9E%D7%94-%D7%91%D7%9B%D7%9C%D7%9C-%D7%96%D7%94-%D7%AA%D7%9C%D7%95%D7%99-%D7%91%D7%9E%D7%94%D7%99%D7%A8%D7%95%D7%AA-%D7%95%D7%9C%D7%90-%D7%91%D7%9B%D7%95%D7%97-%D7%92%D7%9C%D7%A2%D7%93</a:t>
            </a:r>
            <a:r>
              <a:rPr lang="en-US" dirty="0"/>
              <a:t>  </a:t>
            </a:r>
          </a:p>
          <a:p>
            <a:pPr marL="157877" indent="0" algn="r" rtl="1">
              <a:buNone/>
            </a:pPr>
            <a:endParaRPr lang="he-IL" b="1" dirty="0"/>
          </a:p>
          <a:p>
            <a:pPr marL="157877" indent="0" algn="r" rtl="1">
              <a:buNone/>
            </a:pPr>
            <a:endParaRPr lang="he-IL" b="1" dirty="0"/>
          </a:p>
          <a:p>
            <a:pPr marL="157877" indent="0" algn="r" rtl="1">
              <a:buNone/>
            </a:pPr>
            <a:r>
              <a:rPr lang="he-IL" b="1" dirty="0"/>
              <a:t>גבהים: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המסלול הלבן- 60,000 ק"מ מרחק מכדור הארץ- המסלול שהמשגר מוציא אותנו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המסלול הירוק- 190,000ק"מ מרחק מכדור הארץ.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המסלול התכלת-286,000 ק"מ מרחק מכדור הארץ.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המסלול הורוד-414,000 ק"מ מרחק מכדור הארץ.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 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סה"כ מההמראה על הנחיתה המסלול </a:t>
            </a:r>
            <a:r>
              <a:rPr lang="he-IL" dirty="0" err="1"/>
              <a:t>יקח</a:t>
            </a:r>
            <a:r>
              <a:rPr lang="he-IL" dirty="0"/>
              <a:t> כחודשיים וחצי. </a:t>
            </a:r>
            <a:endParaRPr lang="en-US" dirty="0"/>
          </a:p>
          <a:p>
            <a:pPr marL="157877" indent="0" algn="r" rtl="1">
              <a:buNone/>
            </a:pPr>
            <a:r>
              <a:rPr lang="en-US" dirty="0"/>
              <a:t> </a:t>
            </a:r>
            <a:r>
              <a:rPr lang="he-IL" dirty="0"/>
              <a:t>המשפט הזה לא נכון. בנק' הכי רחוקה שלנו מכדור הארץ (כ- 384,000 ק"מ) המהירות שלנו תהייה 200 מטר / לשנייה.</a:t>
            </a:r>
            <a:endParaRPr lang="en-US" dirty="0"/>
          </a:p>
          <a:p>
            <a:pPr marL="157877" indent="0" algn="r" rtl="1">
              <a:buNone/>
            </a:pPr>
            <a:r>
              <a:rPr lang="he-IL" dirty="0"/>
              <a:t>מציעה לא להיכנס לנתונים הספציפיים ולהשאיר את העיקרון כפי שהסברת</a:t>
            </a:r>
            <a:endParaRPr lang="en-US" dirty="0"/>
          </a:p>
          <a:p>
            <a:pPr marL="157877" indent="0" algn="r" rtl="1">
              <a:buNone/>
            </a:pPr>
            <a:r>
              <a:rPr lang="en-US" dirty="0"/>
              <a:t> </a:t>
            </a:r>
            <a:r>
              <a:rPr lang="he-IL" dirty="0"/>
              <a:t>זה מה שיואב אמר לי לכתוב. בכל מקרה אמחק את המספרים</a:t>
            </a:r>
            <a:endParaRPr lang="en-US" dirty="0"/>
          </a:p>
          <a:p>
            <a:pPr marL="157877" indent="0" algn="r" rtl="1">
              <a:buNone/>
            </a:pPr>
            <a:r>
              <a:rPr lang="en-US" dirty="0"/>
              <a:t> </a:t>
            </a:r>
          </a:p>
          <a:p>
            <a:pPr marL="0" indent="0" algn="r" rtl="1">
              <a:buNone/>
            </a:pPr>
            <a:endParaRPr lang="he-IL" baseline="0" dirty="0"/>
          </a:p>
        </p:txBody>
      </p:sp>
      <p:sp>
        <p:nvSpPr>
          <p:cNvPr id="426" name="Shape 426"/>
          <p:cNvSpPr txBox="1">
            <a:spLocks noGrp="1"/>
          </p:cNvSpPr>
          <p:nvPr>
            <p:ph type="sldNum" idx="12"/>
          </p:nvPr>
        </p:nvSpPr>
        <p:spPr>
          <a:xfrm>
            <a:off x="3845047" y="9425569"/>
            <a:ext cx="2941532" cy="497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922" tIns="45449" rIns="90922" bIns="45449" anchor="b" anchorCtr="0"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87916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he-IL" dirty="0"/>
              <a:t>זוהי סימולציה של פרופיל הנחיתה (הקו הכחול) אל</a:t>
            </a:r>
            <a:r>
              <a:rPr lang="he-IL" baseline="0" dirty="0"/>
              <a:t> מול חיזוי פני הקרקע (הקו הכתום). </a:t>
            </a:r>
          </a:p>
          <a:p>
            <a:pPr algn="r" rtl="1"/>
            <a:endParaRPr lang="he-IL" dirty="0"/>
          </a:p>
          <a:p>
            <a:pPr algn="r" rtl="1"/>
            <a:r>
              <a:rPr lang="he-IL" dirty="0"/>
              <a:t>ציר ה</a:t>
            </a:r>
            <a:r>
              <a:rPr lang="en-US" dirty="0"/>
              <a:t>Y</a:t>
            </a:r>
            <a:r>
              <a:rPr lang="he-IL" dirty="0"/>
              <a:t> (הציר</a:t>
            </a:r>
            <a:r>
              <a:rPr lang="he-IL" baseline="0" dirty="0"/>
              <a:t> האנכי) מציין את גובה פני הירח. </a:t>
            </a:r>
          </a:p>
          <a:p>
            <a:pPr algn="r" rtl="1"/>
            <a:r>
              <a:rPr lang="he-IL" baseline="0" dirty="0"/>
              <a:t>ציר ה</a:t>
            </a:r>
            <a:r>
              <a:rPr lang="en-US" baseline="0" dirty="0"/>
              <a:t>X</a:t>
            </a:r>
            <a:r>
              <a:rPr lang="he-IL" baseline="0" dirty="0"/>
              <a:t> (הציר האופקי) מציין את הזמן. </a:t>
            </a:r>
          </a:p>
          <a:p>
            <a:pPr algn="r" rtl="1"/>
            <a:r>
              <a:rPr lang="he-IL" baseline="0" dirty="0"/>
              <a:t>כאשר רואים ירידה של החללית על פני הגרף הכחול עד לנקודה שהחללית עוברת לנחיתה אנכית. </a:t>
            </a:r>
          </a:p>
          <a:p>
            <a:pPr algn="r" rtl="1"/>
            <a:r>
              <a:rPr lang="he-IL" baseline="0" dirty="0"/>
              <a:t>הגרף נבנה לאחר מדידות בעזרת סנסור הנחיתה לבדיקת גובה פני השטח ומהירות החללית. </a:t>
            </a:r>
            <a:endParaRPr lang="he-IL" dirty="0"/>
          </a:p>
          <a:p>
            <a:pPr algn="r" rtl="1"/>
            <a:endParaRPr lang="he-IL" dirty="0"/>
          </a:p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839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172f1788b11_2_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20" name="Google Shape;220;g172f1788b11_2_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221" name="Google Shape;221;g172f1788b11_2_88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2233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svg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svg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jp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svg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1.svg"/><Relationship Id="rId2" Type="http://schemas.openxmlformats.org/officeDocument/2006/relationships/tags" Target="../tags/tag10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 rot="5400000">
            <a:off x="7500300" y="505"/>
            <a:ext cx="1643700" cy="1643700"/>
          </a:xfrm>
          <a:prstGeom prst="diagStripe">
            <a:avLst>
              <a:gd name="adj" fmla="val 0"/>
            </a:avLst>
          </a:prstGeom>
          <a:solidFill>
            <a:schemeClr val="lt1">
              <a:alpha val="303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" name="Google Shape;11;p2"/>
          <p:cNvGrpSpPr/>
          <p:nvPr/>
        </p:nvGrpSpPr>
        <p:grpSpPr>
          <a:xfrm>
            <a:off x="0" y="490"/>
            <a:ext cx="5153705" cy="5134399"/>
            <a:chOff x="0" y="75"/>
            <a:chExt cx="5153705" cy="5152950"/>
          </a:xfrm>
        </p:grpSpPr>
        <p:sp>
          <p:nvSpPr>
            <p:cNvPr id="12" name="Google Shape;12;p2"/>
            <p:cNvSpPr/>
            <p:nvPr/>
          </p:nvSpPr>
          <p:spPr>
            <a:xfrm rot="-5400000">
              <a:off x="455" y="-225"/>
              <a:ext cx="5152800" cy="51537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303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3;p2"/>
            <p:cNvSpPr/>
            <p:nvPr/>
          </p:nvSpPr>
          <p:spPr>
            <a:xfrm rot="-5400000">
              <a:off x="150" y="1145825"/>
              <a:ext cx="3996600" cy="3996900"/>
            </a:xfrm>
            <a:prstGeom prst="diagStripe">
              <a:avLst>
                <a:gd name="adj" fmla="val 58774"/>
              </a:avLst>
            </a:prstGeom>
            <a:solidFill>
              <a:schemeClr val="lt1">
                <a:alpha val="303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4;p2"/>
            <p:cNvSpPr/>
            <p:nvPr/>
          </p:nvSpPr>
          <p:spPr>
            <a:xfrm rot="-5400000">
              <a:off x="1646" y="-75"/>
              <a:ext cx="2299800" cy="23001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 flipH="1">
              <a:off x="652821" y="590035"/>
              <a:ext cx="2300100" cy="2299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3537150" y="1578400"/>
            <a:ext cx="5017500" cy="157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lvl="2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lvl="3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lvl="4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lvl="5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lvl="6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lvl="7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lvl="8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5083950" y="3924925"/>
            <a:ext cx="3470700" cy="50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p11"/>
          <p:cNvGrpSpPr/>
          <p:nvPr/>
        </p:nvGrpSpPr>
        <p:grpSpPr>
          <a:xfrm>
            <a:off x="4406400" y="0"/>
            <a:ext cx="4737600" cy="5143065"/>
            <a:chOff x="4406400" y="0"/>
            <a:chExt cx="4737600" cy="5143065"/>
          </a:xfrm>
        </p:grpSpPr>
        <p:sp>
          <p:nvSpPr>
            <p:cNvPr id="107" name="Google Shape;107;p11"/>
            <p:cNvSpPr/>
            <p:nvPr/>
          </p:nvSpPr>
          <p:spPr>
            <a:xfrm rot="5400000">
              <a:off x="4408200" y="-1800"/>
              <a:ext cx="47340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11"/>
            <p:cNvSpPr/>
            <p:nvPr/>
          </p:nvSpPr>
          <p:spPr>
            <a:xfrm rot="5400000">
              <a:off x="4841125" y="5700"/>
              <a:ext cx="42981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09;p11"/>
            <p:cNvSpPr/>
            <p:nvPr/>
          </p:nvSpPr>
          <p:spPr>
            <a:xfrm rot="-5400000">
              <a:off x="5618399" y="123646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11"/>
            <p:cNvSpPr/>
            <p:nvPr/>
          </p:nvSpPr>
          <p:spPr>
            <a:xfrm flipH="1">
              <a:off x="5849857" y="14439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11"/>
            <p:cNvSpPr/>
            <p:nvPr/>
          </p:nvSpPr>
          <p:spPr>
            <a:xfrm rot="-5400000">
              <a:off x="5987081" y="24694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11"/>
            <p:cNvSpPr/>
            <p:nvPr/>
          </p:nvSpPr>
          <p:spPr>
            <a:xfrm flipH="1">
              <a:off x="6222115" y="267695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11"/>
            <p:cNvSpPr/>
            <p:nvPr/>
          </p:nvSpPr>
          <p:spPr>
            <a:xfrm rot="-5400000">
              <a:off x="6675341" y="186201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11"/>
            <p:cNvSpPr/>
            <p:nvPr/>
          </p:nvSpPr>
          <p:spPr>
            <a:xfrm flipH="1">
              <a:off x="6908099" y="206950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11"/>
            <p:cNvSpPr/>
            <p:nvPr/>
          </p:nvSpPr>
          <p:spPr>
            <a:xfrm rot="-5400000">
              <a:off x="6861141" y="247781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11"/>
            <p:cNvSpPr/>
            <p:nvPr/>
          </p:nvSpPr>
          <p:spPr>
            <a:xfrm flipH="1">
              <a:off x="7965266" y="269296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11"/>
            <p:cNvSpPr/>
            <p:nvPr/>
          </p:nvSpPr>
          <p:spPr>
            <a:xfrm flipH="1">
              <a:off x="8145082" y="330875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11"/>
            <p:cNvSpPr/>
            <p:nvPr/>
          </p:nvSpPr>
          <p:spPr>
            <a:xfrm rot="-5400000">
              <a:off x="7047599" y="309501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11"/>
            <p:cNvSpPr/>
            <p:nvPr/>
          </p:nvSpPr>
          <p:spPr>
            <a:xfrm flipH="1">
              <a:off x="7276649" y="330250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11"/>
            <p:cNvSpPr/>
            <p:nvPr/>
          </p:nvSpPr>
          <p:spPr>
            <a:xfrm rot="-5400000">
              <a:off x="7227414" y="3710807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11"/>
            <p:cNvSpPr/>
            <p:nvPr/>
          </p:nvSpPr>
          <p:spPr>
            <a:xfrm flipH="1">
              <a:off x="7462448" y="391829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11"/>
            <p:cNvSpPr/>
            <p:nvPr/>
          </p:nvSpPr>
          <p:spPr>
            <a:xfrm rot="-5400000">
              <a:off x="8102491" y="371847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11"/>
            <p:cNvSpPr/>
            <p:nvPr/>
          </p:nvSpPr>
          <p:spPr>
            <a:xfrm flipH="1">
              <a:off x="8334533" y="392596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11"/>
            <p:cNvSpPr/>
            <p:nvPr/>
          </p:nvSpPr>
          <p:spPr>
            <a:xfrm rot="-5400000">
              <a:off x="8288290" y="43342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" name="Google Shape;125;p11"/>
          <p:cNvSpPr txBox="1">
            <a:spLocks noGrp="1"/>
          </p:cNvSpPr>
          <p:nvPr>
            <p:ph type="title" hasCustomPrompt="1"/>
          </p:nvPr>
        </p:nvSpPr>
        <p:spPr>
          <a:xfrm>
            <a:off x="823850" y="1284675"/>
            <a:ext cx="47760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1pPr>
            <a:lvl2pPr lvl="1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2pPr>
            <a:lvl3pPr lvl="2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3pPr>
            <a:lvl4pPr lvl="3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4pPr>
            <a:lvl5pPr lvl="4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5pPr>
            <a:lvl6pPr lvl="5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6pPr>
            <a:lvl7pPr lvl="6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7pPr>
            <a:lvl8pPr lvl="7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8pPr>
            <a:lvl9pPr lvl="8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6" name="Google Shape;126;p11"/>
          <p:cNvSpPr txBox="1">
            <a:spLocks noGrp="1"/>
          </p:cNvSpPr>
          <p:nvPr>
            <p:ph type="body" idx="1"/>
          </p:nvPr>
        </p:nvSpPr>
        <p:spPr>
          <a:xfrm>
            <a:off x="823850" y="2643124"/>
            <a:ext cx="4776000" cy="121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127" name="Google Shape;12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שקופית כותרת" type="title">
  <p:cSld name="TITLE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1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ותוכן" type="obj">
  <p:cSld name="OBJECT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1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1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1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1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מקטע עליונה" type="secHead">
  <p:cSld name="SECTION_HEADER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1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1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1pPr>
            <a:lvl2pPr marL="914400" lvl="1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1500">
                <a:solidFill>
                  <a:srgbClr val="888888"/>
                </a:solidFill>
              </a:defRPr>
            </a:lvl2pPr>
            <a:lvl3pPr marL="1371600" lvl="2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350"/>
              <a:buNone/>
              <a:defRPr sz="1350">
                <a:solidFill>
                  <a:srgbClr val="888888"/>
                </a:solidFill>
              </a:defRPr>
            </a:lvl3pPr>
            <a:lvl4pPr marL="1828800" lvl="3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4pPr>
            <a:lvl5pPr marL="2286000" lvl="4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5pPr>
            <a:lvl6pPr marL="2743200" lvl="5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6pPr>
            <a:lvl7pPr marL="3200400" lvl="6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7pPr>
            <a:lvl8pPr marL="3657600" lvl="7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8pPr>
            <a:lvl9pPr marL="4114800" lvl="8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51" name="Google Shape;151;p1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1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שני תכנים" type="twoObj">
  <p:cSld name="TWO_OBJECTS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1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1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1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1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השוואה" type="twoTxTwoObj">
  <p:cSld name="TWO_OBJECTS_WITH_TEXT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1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 b="1"/>
            </a:lvl3pPr>
            <a:lvl4pPr marL="1828800" lvl="3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64" name="Google Shape;164;p1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 b="1"/>
            </a:lvl3pPr>
            <a:lvl4pPr marL="1828800" lvl="3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66" name="Google Shape;166;p1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1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1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בלבד" type="titleOnly">
  <p:cSld name="TITLE_ONLY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1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1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1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ריק" type="blank">
  <p:cSld name="BLANK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2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תוכן עם כיתוב" type="objTx">
  <p:cSld name="OBJECT_WITH_CAPTION_TEXT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21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619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100"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4pPr>
            <a:lvl5pPr marL="2286000" lvl="4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5pPr>
            <a:lvl6pPr marL="2743200" lvl="5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endParaRPr/>
          </a:p>
        </p:txBody>
      </p:sp>
      <p:sp>
        <p:nvSpPr>
          <p:cNvPr id="182" name="Google Shape;182;p21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83" name="Google Shape;183;p2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2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oogle Shape;20;p3"/>
          <p:cNvGrpSpPr/>
          <p:nvPr/>
        </p:nvGrpSpPr>
        <p:grpSpPr>
          <a:xfrm>
            <a:off x="4406400" y="0"/>
            <a:ext cx="4737600" cy="5143065"/>
            <a:chOff x="4406400" y="0"/>
            <a:chExt cx="4737600" cy="5143065"/>
          </a:xfrm>
        </p:grpSpPr>
        <p:sp>
          <p:nvSpPr>
            <p:cNvPr id="21" name="Google Shape;21;p3"/>
            <p:cNvSpPr/>
            <p:nvPr/>
          </p:nvSpPr>
          <p:spPr>
            <a:xfrm rot="5400000">
              <a:off x="4408200" y="-1800"/>
              <a:ext cx="47340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3"/>
            <p:cNvSpPr/>
            <p:nvPr/>
          </p:nvSpPr>
          <p:spPr>
            <a:xfrm rot="5400000">
              <a:off x="4841125" y="5700"/>
              <a:ext cx="42981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 rot="-5400000">
              <a:off x="5618399" y="123646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 flipH="1">
              <a:off x="5849857" y="14439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3"/>
            <p:cNvSpPr/>
            <p:nvPr/>
          </p:nvSpPr>
          <p:spPr>
            <a:xfrm rot="-5400000">
              <a:off x="5987081" y="24694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 flipH="1">
              <a:off x="6222115" y="267695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3"/>
            <p:cNvSpPr/>
            <p:nvPr/>
          </p:nvSpPr>
          <p:spPr>
            <a:xfrm rot="-5400000">
              <a:off x="6675341" y="186201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3"/>
            <p:cNvSpPr/>
            <p:nvPr/>
          </p:nvSpPr>
          <p:spPr>
            <a:xfrm flipH="1">
              <a:off x="6908099" y="206950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3"/>
            <p:cNvSpPr/>
            <p:nvPr/>
          </p:nvSpPr>
          <p:spPr>
            <a:xfrm rot="-5400000">
              <a:off x="6861141" y="247781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3"/>
            <p:cNvSpPr/>
            <p:nvPr/>
          </p:nvSpPr>
          <p:spPr>
            <a:xfrm flipH="1">
              <a:off x="7965266" y="269296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3"/>
            <p:cNvSpPr/>
            <p:nvPr/>
          </p:nvSpPr>
          <p:spPr>
            <a:xfrm flipH="1">
              <a:off x="8145082" y="330875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3"/>
            <p:cNvSpPr/>
            <p:nvPr/>
          </p:nvSpPr>
          <p:spPr>
            <a:xfrm rot="-5400000">
              <a:off x="7047599" y="309501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3"/>
            <p:cNvSpPr/>
            <p:nvPr/>
          </p:nvSpPr>
          <p:spPr>
            <a:xfrm flipH="1">
              <a:off x="7276649" y="330250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3"/>
            <p:cNvSpPr/>
            <p:nvPr/>
          </p:nvSpPr>
          <p:spPr>
            <a:xfrm rot="-5400000">
              <a:off x="7227414" y="3710807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3"/>
            <p:cNvSpPr/>
            <p:nvPr/>
          </p:nvSpPr>
          <p:spPr>
            <a:xfrm flipH="1">
              <a:off x="7462448" y="391829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3"/>
            <p:cNvSpPr/>
            <p:nvPr/>
          </p:nvSpPr>
          <p:spPr>
            <a:xfrm rot="-5400000">
              <a:off x="8102491" y="371847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3"/>
            <p:cNvSpPr/>
            <p:nvPr/>
          </p:nvSpPr>
          <p:spPr>
            <a:xfrm flipH="1">
              <a:off x="8334533" y="392596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3"/>
            <p:cNvSpPr/>
            <p:nvPr/>
          </p:nvSpPr>
          <p:spPr>
            <a:xfrm rot="-5400000">
              <a:off x="8288290" y="43342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" name="Google Shape;39;p3"/>
          <p:cNvSpPr txBox="1">
            <a:spLocks noGrp="1"/>
          </p:cNvSpPr>
          <p:nvPr>
            <p:ph type="title"/>
          </p:nvPr>
        </p:nvSpPr>
        <p:spPr>
          <a:xfrm>
            <a:off x="823850" y="2053000"/>
            <a:ext cx="4587000" cy="1148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תמונה עם כיתוב" type="picTx">
  <p:cSld name="PICTURE_WITH_CAPTION_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22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22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</p:sp>
      <p:sp>
        <p:nvSpPr>
          <p:cNvPr id="189" name="Google Shape;189;p22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90" name="Google Shape;190;p2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2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2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וטקסט אנכי" type="vertTx">
  <p:cSld name="VERTICAL_TEXT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23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79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2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2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2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אנכית וטקסט" type="vertTitleAndTx">
  <p:cSld name="VERTICAL_TITLE_AND_VERTICAL_TEXT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4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p24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79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" name="Google Shape;202;p2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2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2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ff69f9064e_0_151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gff69f9064e_0_151"/>
          <p:cNvSpPr txBox="1"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/>
            </a:lvl3pPr>
            <a:lvl4pPr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93" name="Google Shape;93;gff69f9064e_0_15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gff69f9064e_0_15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gff69f9064e_0_15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016042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ff69f9064e_0_15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gff69f9064e_0_15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gff69f9064e_0_15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gff69f9064e_0_15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gff69f9064e_0_15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1462582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gff69f9064e_0_163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gff69f9064e_0_163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1800">
                <a:solidFill>
                  <a:srgbClr val="888888"/>
                </a:solidFill>
              </a:defRPr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500">
                <a:solidFill>
                  <a:srgbClr val="888888"/>
                </a:solidFill>
              </a:defRPr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350">
                <a:solidFill>
                  <a:srgbClr val="888888"/>
                </a:solidFill>
              </a:defRPr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05" name="Google Shape;105;gff69f9064e_0_16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gff69f9064e_0_16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gff69f9064e_0_16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169824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ff69f9064e_0_16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gff69f9064e_0_169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gff69f9064e_0_169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gff69f9064e_0_16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gff69f9064e_0_16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gff69f9064e_0_16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5622325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gff69f9064e_0_176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gff69f9064e_0_176"/>
          <p:cNvSpPr txBox="1">
            <a:spLocks noGrp="1"/>
          </p:cNvSpPr>
          <p:nvPr>
            <p:ph type="body" idx="1"/>
          </p:nvPr>
        </p:nvSpPr>
        <p:spPr>
          <a:xfrm>
            <a:off x="629841" y="1260872"/>
            <a:ext cx="38684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118" name="Google Shape;118;gff69f9064e_0_176"/>
          <p:cNvSpPr txBox="1">
            <a:spLocks noGrp="1"/>
          </p:cNvSpPr>
          <p:nvPr>
            <p:ph type="body" idx="2"/>
          </p:nvPr>
        </p:nvSpPr>
        <p:spPr>
          <a:xfrm>
            <a:off x="629841" y="1878806"/>
            <a:ext cx="38684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gff69f9064e_0_176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120" name="Google Shape;120;gff69f9064e_0_176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gff69f9064e_0_17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gff69f9064e_0_17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gff69f9064e_0_17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514324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ff69f9064e_0_18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gff69f9064e_0_18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gff69f9064e_0_18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gff69f9064e_0_18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8441695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gff69f9064e_0_19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gff69f9064e_0_19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gff69f9064e_0_19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507081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oogle Shape;42;p4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43" name="Google Shape;43;p4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4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4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" name="Google Shape;46;p4"/>
          <p:cNvSpPr txBox="1">
            <a:spLocks noGrp="1"/>
          </p:cNvSpPr>
          <p:nvPr>
            <p:ph type="body" idx="1"/>
          </p:nvPr>
        </p:nvSpPr>
        <p:spPr>
          <a:xfrm>
            <a:off x="1297500" y="1567550"/>
            <a:ext cx="70389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gff69f9064e_0_194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gff69f9064e_0_194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136" name="Google Shape;136;gff69f9064e_0_194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137" name="Google Shape;137;gff69f9064e_0_19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gff69f9064e_0_19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gff69f9064e_0_19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36725603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gff69f9064e_0_20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gff69f9064e_0_20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</p:sp>
      <p:sp>
        <p:nvSpPr>
          <p:cNvPr id="143" name="Google Shape;143;gff69f9064e_0_20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144" name="Google Shape;144;gff69f9064e_0_20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gff69f9064e_0_20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gff69f9064e_0_20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34162986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gff69f9064e_0_208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gff69f9064e_0_208"/>
          <p:cNvSpPr txBox="1">
            <a:spLocks noGrp="1"/>
          </p:cNvSpPr>
          <p:nvPr>
            <p:ph type="body" idx="1"/>
          </p:nvPr>
        </p:nvSpPr>
        <p:spPr>
          <a:xfrm rot="5400000">
            <a:off x="2940300" y="-942431"/>
            <a:ext cx="3263400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gff69f9064e_0_20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gff69f9064e_0_20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gff69f9064e_0_20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32132366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gff69f9064e_0_214"/>
          <p:cNvSpPr txBox="1">
            <a:spLocks noGrp="1"/>
          </p:cNvSpPr>
          <p:nvPr>
            <p:ph type="title"/>
          </p:nvPr>
        </p:nvSpPr>
        <p:spPr>
          <a:xfrm rot="5400000">
            <a:off x="5350050" y="1467469"/>
            <a:ext cx="4358925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gff69f9064e_0_214"/>
          <p:cNvSpPr txBox="1">
            <a:spLocks noGrp="1"/>
          </p:cNvSpPr>
          <p:nvPr>
            <p:ph type="body" idx="1"/>
          </p:nvPr>
        </p:nvSpPr>
        <p:spPr>
          <a:xfrm rot="5400000">
            <a:off x="1349550" y="-447056"/>
            <a:ext cx="4358925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gff69f9064e_0_21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gff69f9064e_0_21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gff69f9064e_0_2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39642364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3233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53772" y="4811438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153772" y="4905646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Last Modified 10/12/2018 2:17 AM Jerusalem Standard Time</a:t>
            </a: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153772" y="4999854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87945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he-I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87945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he-I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06011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 eaLnBrk="0" hangingPunct="1">
              <a:defRPr/>
            </a:pPr>
            <a:r>
              <a:rPr lang="he-IL" sz="1071" baseline="0" dirty="0">
                <a:solidFill>
                  <a:schemeClr val="accent6"/>
                </a:solidFill>
                <a:latin typeface="+mn-lt"/>
              </a:rPr>
              <a:t>סוג מסמך | תאריך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376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1" eaLnBrk="0" hangingPunct="1">
              <a:defRPr/>
            </a:pP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4520483" y="142197"/>
            <a:ext cx="2221327" cy="182182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he-IL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Hebrew" hidden="1"/>
          <p:cNvSpPr>
            <a:spLocks noChangeArrowheads="1"/>
          </p:cNvSpPr>
          <p:nvPr userDrawn="1"/>
        </p:nvSpPr>
        <p:spPr bwMode="black">
          <a:xfrm>
            <a:off x="3137568" y="4816745"/>
            <a:ext cx="3616660" cy="277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סודי</a:t>
            </a:r>
          </a:p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כל שימוש במידע זה ללא רשותה המפורשת של מקינזי אנד קומפני אסור בהחלט</a:t>
            </a:r>
          </a:p>
        </p:txBody>
      </p:sp>
    </p:spTree>
    <p:extLst>
      <p:ext uri="{BB962C8B-B14F-4D97-AF65-F5344CB8AC3E}">
        <p14:creationId xmlns:p14="http://schemas.microsoft.com/office/powerpoint/2010/main" val="4597495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FEF526-3C81-4FA8-B92E-C2E9CE2B3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FEF526-3C81-4FA8-B92E-C2E9CE2B3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 algn="r" rtl="1">
              <a:defRPr/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606595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גרפיקה 52">
            <a:extLst>
              <a:ext uri="{FF2B5EF4-FFF2-40B4-BE49-F238E27FC236}">
                <a16:creationId xmlns:a16="http://schemas.microsoft.com/office/drawing/2014/main" id="{C3E1D69A-C360-4AE4-8DC6-418915144022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32" y="4953800"/>
            <a:ext cx="699771" cy="106702"/>
          </a:xfrm>
          <a:prstGeom prst="rect">
            <a:avLst/>
          </a:prstGeom>
          <a:effectLst>
            <a:outerShdw blurRad="101600" dist="25400" dir="6000000" algn="ctr" rotWithShape="0">
              <a:srgbClr val="000000">
                <a:alpha val="18000"/>
              </a:srgbClr>
            </a:outerShdw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88A39D-D3A1-48C3-9850-FD1AB101A7D2}"/>
              </a:ext>
            </a:extLst>
          </p:cNvPr>
          <p:cNvCxnSpPr>
            <a:cxnSpLocks/>
          </p:cNvCxnSpPr>
          <p:nvPr userDrawn="1"/>
        </p:nvCxnSpPr>
        <p:spPr>
          <a:xfrm>
            <a:off x="69828" y="4953800"/>
            <a:ext cx="0" cy="1067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266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5464CF-8F64-404A-8063-6E15CAED8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5464CF-8F64-404A-8063-6E15CAED8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229455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he-IL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he-IL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87746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25783" y="38875"/>
            <a:ext cx="827311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1522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2_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EB3C08-1A04-4705-8EBD-B84DB737F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EB3C08-1A04-4705-8EBD-B84DB737F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Shape 50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9266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DE4A52-24E9-4B2A-889C-6B5D5812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DE4A52-24E9-4B2A-889C-6B5D5812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6876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AD4887-4487-4A48-A807-6B11C5F005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AD4887-4487-4A48-A807-6B11C5F00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6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852" marR="0" lvl="0" indent="-323805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705" marR="0" lvl="1" indent="-304758" algn="l" rtl="0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557" marR="0" lvl="2" indent="-28571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410" marR="0" lvl="3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262" marR="0" lvl="4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115" marR="0" lvl="5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967" marR="0" lvl="6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820" marR="0" lvl="7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5672" marR="0" lvl="8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824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oogle Shape;49;p5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0" name="Google Shape;50;p5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5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2" name="Google Shape;52;p5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3" name="Google Shape;53;p5"/>
          <p:cNvSpPr txBox="1">
            <a:spLocks noGrp="1"/>
          </p:cNvSpPr>
          <p:nvPr>
            <p:ph type="body" idx="1"/>
          </p:nvPr>
        </p:nvSpPr>
        <p:spPr>
          <a:xfrm>
            <a:off x="1297500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body" idx="2"/>
          </p:nvPr>
        </p:nvSpPr>
        <p:spPr>
          <a:xfrm>
            <a:off x="4933221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5" name="Google Shape;55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685800" y="1802845"/>
            <a:ext cx="77724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6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800"/>
              <a:buFont typeface="Arial"/>
              <a:buNone/>
              <a:defRPr sz="2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5049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3233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048958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53772" y="4811438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153772" y="4905646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Last Modified 10/12/2018 2:17 AM Jerusalem Standard Time</a:t>
            </a: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153772" y="4999854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87945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he-I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87945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he-I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06011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 eaLnBrk="0" hangingPunct="1">
              <a:defRPr/>
            </a:pPr>
            <a:r>
              <a:rPr lang="he-IL" sz="1071" baseline="0" dirty="0">
                <a:solidFill>
                  <a:schemeClr val="accent6"/>
                </a:solidFill>
                <a:latin typeface="+mn-lt"/>
              </a:rPr>
              <a:t>סוג מסמך | תאריך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376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1" eaLnBrk="0" hangingPunct="1">
              <a:defRPr/>
            </a:pP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4520483" y="142197"/>
            <a:ext cx="2221327" cy="182182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he-IL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Hebrew" hidden="1"/>
          <p:cNvSpPr>
            <a:spLocks noChangeArrowheads="1"/>
          </p:cNvSpPr>
          <p:nvPr userDrawn="1"/>
        </p:nvSpPr>
        <p:spPr bwMode="black">
          <a:xfrm>
            <a:off x="3137568" y="4816745"/>
            <a:ext cx="3616660" cy="277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סודי</a:t>
            </a:r>
          </a:p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כל שימוש במידע זה ללא רשותה המפורשת של מקינזי אנד קומפני אסור בהחלט</a:t>
            </a:r>
          </a:p>
        </p:txBody>
      </p:sp>
    </p:spTree>
    <p:extLst>
      <p:ext uri="{BB962C8B-B14F-4D97-AF65-F5344CB8AC3E}">
        <p14:creationId xmlns:p14="http://schemas.microsoft.com/office/powerpoint/2010/main" val="32915503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FEF526-3C81-4FA8-B92E-C2E9CE2B3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574393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FEF526-3C81-4FA8-B92E-C2E9CE2B3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 algn="r" rtl="1">
              <a:defRPr/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606595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גרפיקה 52">
            <a:extLst>
              <a:ext uri="{FF2B5EF4-FFF2-40B4-BE49-F238E27FC236}">
                <a16:creationId xmlns:a16="http://schemas.microsoft.com/office/drawing/2014/main" id="{C3E1D69A-C360-4AE4-8DC6-418915144022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32" y="4953800"/>
            <a:ext cx="699771" cy="106702"/>
          </a:xfrm>
          <a:prstGeom prst="rect">
            <a:avLst/>
          </a:prstGeom>
          <a:effectLst>
            <a:outerShdw blurRad="101600" dist="25400" dir="6000000" algn="ctr" rotWithShape="0">
              <a:srgbClr val="000000">
                <a:alpha val="18000"/>
              </a:srgbClr>
            </a:outerShdw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88A39D-D3A1-48C3-9850-FD1AB101A7D2}"/>
              </a:ext>
            </a:extLst>
          </p:cNvPr>
          <p:cNvCxnSpPr>
            <a:cxnSpLocks/>
          </p:cNvCxnSpPr>
          <p:nvPr userDrawn="1"/>
        </p:nvCxnSpPr>
        <p:spPr>
          <a:xfrm>
            <a:off x="69828" y="4953800"/>
            <a:ext cx="0" cy="1067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60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5464CF-8F64-404A-8063-6E15CAED8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85243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5464CF-8F64-404A-8063-6E15CAED8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229455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he-IL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he-IL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87746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25783" y="38875"/>
            <a:ext cx="827311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7159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2_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EB3C08-1A04-4705-8EBD-B84DB737F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423109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EB3C08-1A04-4705-8EBD-B84DB737F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Shape 50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5191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DE4A52-24E9-4B2A-889C-6B5D5812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792290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DE4A52-24E9-4B2A-889C-6B5D5812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7776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AD4887-4487-4A48-A807-6B11C5F005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25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AD4887-4487-4A48-A807-6B11C5F00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6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852" marR="0" lvl="0" indent="-323805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705" marR="0" lvl="1" indent="-304758" algn="l" rtl="0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557" marR="0" lvl="2" indent="-28571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410" marR="0" lvl="3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262" marR="0" lvl="4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115" marR="0" lvl="5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967" marR="0" lvl="6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820" marR="0" lvl="7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5672" marR="0" lvl="8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7062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3233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53772" y="4811438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153772" y="4905646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Last Modified 10/12/2018 2:17 AM Jerusalem Standard Time</a:t>
            </a: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153772" y="4999854"/>
            <a:ext cx="43667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he-IL" sz="612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87945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he-I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87945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he-I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06011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 eaLnBrk="0" hangingPunct="1">
              <a:defRPr/>
            </a:pPr>
            <a:r>
              <a:rPr lang="he-IL" sz="1071" baseline="0" dirty="0">
                <a:solidFill>
                  <a:schemeClr val="accent6"/>
                </a:solidFill>
                <a:latin typeface="+mn-lt"/>
              </a:rPr>
              <a:t>סוג מסמך | תאריך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376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1" eaLnBrk="0" hangingPunct="1">
              <a:defRPr/>
            </a:pPr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4520483" y="142197"/>
            <a:ext cx="2221327" cy="182182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he-IL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Hebrew" hidden="1"/>
          <p:cNvSpPr>
            <a:spLocks noChangeArrowheads="1"/>
          </p:cNvSpPr>
          <p:nvPr userDrawn="1"/>
        </p:nvSpPr>
        <p:spPr bwMode="black">
          <a:xfrm>
            <a:off x="3137568" y="4816745"/>
            <a:ext cx="3616660" cy="277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סודי</a:t>
            </a:r>
          </a:p>
          <a:p>
            <a:pPr algn="r" defTabSz="615881" rtl="1" eaLnBrk="0" hangingPunct="0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כל שימוש במידע זה ללא רשותה המפורשת של מקינזי אנד קומפני אסור בהחלט</a:t>
            </a:r>
          </a:p>
        </p:txBody>
      </p:sp>
    </p:spTree>
    <p:extLst>
      <p:ext uri="{BB962C8B-B14F-4D97-AF65-F5344CB8AC3E}">
        <p14:creationId xmlns:p14="http://schemas.microsoft.com/office/powerpoint/2010/main" val="2214621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FEF526-3C81-4FA8-B92E-C2E9CE2B3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FEF526-3C81-4FA8-B92E-C2E9CE2B3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 algn="r" rtl="1">
              <a:defRPr/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606595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74020" y="4924756"/>
            <a:ext cx="169918" cy="1647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he-IL"/>
            </a:defPPr>
            <a:lvl1pPr>
              <a:defRPr sz="1000" baseline="0">
                <a:latin typeface="+mn-lt"/>
              </a:defRPr>
            </a:lvl1pPr>
          </a:lstStyle>
          <a:p>
            <a:pPr algn="r" rtl="1"/>
            <a:fld id="{42C328C1-A84F-4A39-A664-DBA00541A8C6}" type="slidenum">
              <a:rPr lang="he-IL" sz="1071" b="1" baseline="0" smtClean="0">
                <a:solidFill>
                  <a:schemeClr val="bg1"/>
                </a:solidFill>
                <a:latin typeface="+mn-lt"/>
              </a:rPr>
              <a:pPr algn="r" rtl="1"/>
              <a:t>‹#›</a:t>
            </a:fld>
            <a:endParaRPr lang="he-IL" sz="1071" b="1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גרפיקה 52">
            <a:extLst>
              <a:ext uri="{FF2B5EF4-FFF2-40B4-BE49-F238E27FC236}">
                <a16:creationId xmlns:a16="http://schemas.microsoft.com/office/drawing/2014/main" id="{4008858E-94B1-4FA0-9ADA-D66327A7F28B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7544" y="4953800"/>
            <a:ext cx="699771" cy="106702"/>
          </a:xfrm>
          <a:prstGeom prst="rect">
            <a:avLst/>
          </a:prstGeom>
          <a:effectLst>
            <a:outerShdw blurRad="101600" dist="25400" dir="6000000" algn="ctr" rotWithShape="0">
              <a:srgbClr val="000000">
                <a:alpha val="18000"/>
              </a:srgb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5E6E929-D651-47A2-B194-18EC0ADDB2BB}"/>
              </a:ext>
            </a:extLst>
          </p:cNvPr>
          <p:cNvCxnSpPr>
            <a:cxnSpLocks/>
          </p:cNvCxnSpPr>
          <p:nvPr userDrawn="1"/>
        </p:nvCxnSpPr>
        <p:spPr>
          <a:xfrm>
            <a:off x="410741" y="4953800"/>
            <a:ext cx="0" cy="1067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93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FEF526-3C81-4FA8-B92E-C2E9CE2B3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FEF526-3C81-4FA8-B92E-C2E9CE2B3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 algn="r" rtl="1">
              <a:defRPr/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606595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6" name="גרפיקה 52">
            <a:extLst>
              <a:ext uri="{FF2B5EF4-FFF2-40B4-BE49-F238E27FC236}">
                <a16:creationId xmlns:a16="http://schemas.microsoft.com/office/drawing/2014/main" id="{4008858E-94B1-4FA0-9ADA-D66327A7F28B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32" y="4953800"/>
            <a:ext cx="699771" cy="106702"/>
          </a:xfrm>
          <a:prstGeom prst="rect">
            <a:avLst/>
          </a:prstGeom>
          <a:effectLst>
            <a:outerShdw blurRad="101600" dist="25400" dir="6000000" algn="ctr" rotWithShape="0">
              <a:srgbClr val="000000">
                <a:alpha val="18000"/>
              </a:srgb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5E6E929-D651-47A2-B194-18EC0ADDB2BB}"/>
              </a:ext>
            </a:extLst>
          </p:cNvPr>
          <p:cNvCxnSpPr>
            <a:cxnSpLocks/>
          </p:cNvCxnSpPr>
          <p:nvPr userDrawn="1"/>
        </p:nvCxnSpPr>
        <p:spPr>
          <a:xfrm>
            <a:off x="69828" y="4953800"/>
            <a:ext cx="0" cy="1067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816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oogle Shape;57;p6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8" name="Google Shape;58;p6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6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0" name="Google Shape;60;p6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1" name="Google Shape;61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5464CF-8F64-404A-8063-6E15CAED8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5464CF-8F64-404A-8063-6E15CAED8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he-IL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229455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he-IL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he-IL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he-IL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87746" y="498035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he-IL" sz="612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25783" y="38875"/>
            <a:ext cx="827311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63751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2_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EB3C08-1A04-4705-8EBD-B84DB737F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EB3C08-1A04-4705-8EBD-B84DB737F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Shape 50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0057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DE4A52-24E9-4B2A-889C-6B5D5812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DE4A52-24E9-4B2A-889C-6B5D5812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1830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AD4887-4487-4A48-A807-6B11C5F005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AD4887-4487-4A48-A807-6B11C5F00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457200" y="288370"/>
            <a:ext cx="82296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6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852" marR="0" lvl="0" indent="-323805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705" marR="0" lvl="1" indent="-304758" algn="l" rtl="0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557" marR="0" lvl="2" indent="-28571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410" marR="0" lvl="3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262" marR="0" lvl="4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115" marR="0" lvl="5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967" marR="0" lvl="6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820" marR="0" lvl="7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5672" marR="0" lvl="8" indent="-266663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0944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685800" y="1802845"/>
            <a:ext cx="77724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618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800"/>
              <a:buFont typeface="Arial"/>
              <a:buNone/>
              <a:defRPr sz="2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ft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156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7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64" name="Google Shape;64;p7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7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6" name="Google Shape;66;p7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3798900" cy="1493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7" name="Google Shape;67;p7"/>
          <p:cNvSpPr txBox="1">
            <a:spLocks noGrp="1"/>
          </p:cNvSpPr>
          <p:nvPr>
            <p:ph type="body" idx="1"/>
          </p:nvPr>
        </p:nvSpPr>
        <p:spPr>
          <a:xfrm>
            <a:off x="1297500" y="1972550"/>
            <a:ext cx="3798900" cy="2415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68" name="Google Shape;68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oogle Shape;70;p8"/>
          <p:cNvGrpSpPr/>
          <p:nvPr/>
        </p:nvGrpSpPr>
        <p:grpSpPr>
          <a:xfrm>
            <a:off x="4406400" y="0"/>
            <a:ext cx="4737600" cy="5143500"/>
            <a:chOff x="4406400" y="0"/>
            <a:chExt cx="4737600" cy="5143500"/>
          </a:xfrm>
        </p:grpSpPr>
        <p:sp>
          <p:nvSpPr>
            <p:cNvPr id="71" name="Google Shape;71;p8"/>
            <p:cNvSpPr/>
            <p:nvPr/>
          </p:nvSpPr>
          <p:spPr>
            <a:xfrm rot="5400000">
              <a:off x="4407900" y="-1500"/>
              <a:ext cx="47346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8"/>
            <p:cNvSpPr/>
            <p:nvPr/>
          </p:nvSpPr>
          <p:spPr>
            <a:xfrm rot="5400000">
              <a:off x="4840825" y="6000"/>
              <a:ext cx="42987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8"/>
            <p:cNvSpPr/>
            <p:nvPr/>
          </p:nvSpPr>
          <p:spPr>
            <a:xfrm rot="-5400000">
              <a:off x="5618399" y="123664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8"/>
            <p:cNvSpPr/>
            <p:nvPr/>
          </p:nvSpPr>
          <p:spPr>
            <a:xfrm flipH="1">
              <a:off x="5849857" y="144407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8"/>
            <p:cNvSpPr/>
            <p:nvPr/>
          </p:nvSpPr>
          <p:spPr>
            <a:xfrm rot="-5400000">
              <a:off x="5987081" y="246974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76;p8"/>
            <p:cNvSpPr/>
            <p:nvPr/>
          </p:nvSpPr>
          <p:spPr>
            <a:xfrm flipH="1">
              <a:off x="6222115" y="267717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8"/>
            <p:cNvSpPr/>
            <p:nvPr/>
          </p:nvSpPr>
          <p:spPr>
            <a:xfrm rot="-5400000">
              <a:off x="6675341" y="186224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8"/>
            <p:cNvSpPr/>
            <p:nvPr/>
          </p:nvSpPr>
          <p:spPr>
            <a:xfrm flipH="1">
              <a:off x="6908099" y="206968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8"/>
            <p:cNvSpPr/>
            <p:nvPr/>
          </p:nvSpPr>
          <p:spPr>
            <a:xfrm rot="-5400000">
              <a:off x="6861141" y="247808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8"/>
            <p:cNvSpPr/>
            <p:nvPr/>
          </p:nvSpPr>
          <p:spPr>
            <a:xfrm flipH="1">
              <a:off x="7965266" y="269319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8"/>
            <p:cNvSpPr/>
            <p:nvPr/>
          </p:nvSpPr>
          <p:spPr>
            <a:xfrm flipH="1">
              <a:off x="8145082" y="330903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8"/>
            <p:cNvSpPr/>
            <p:nvPr/>
          </p:nvSpPr>
          <p:spPr>
            <a:xfrm rot="-5400000">
              <a:off x="7047599" y="309534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8"/>
            <p:cNvSpPr/>
            <p:nvPr/>
          </p:nvSpPr>
          <p:spPr>
            <a:xfrm flipH="1">
              <a:off x="7276649" y="330278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8"/>
            <p:cNvSpPr/>
            <p:nvPr/>
          </p:nvSpPr>
          <p:spPr>
            <a:xfrm rot="-5400000">
              <a:off x="7227414" y="37111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8"/>
            <p:cNvSpPr/>
            <p:nvPr/>
          </p:nvSpPr>
          <p:spPr>
            <a:xfrm flipH="1">
              <a:off x="7462448" y="391862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8"/>
            <p:cNvSpPr/>
            <p:nvPr/>
          </p:nvSpPr>
          <p:spPr>
            <a:xfrm rot="-5400000">
              <a:off x="8102491" y="37188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8"/>
            <p:cNvSpPr/>
            <p:nvPr/>
          </p:nvSpPr>
          <p:spPr>
            <a:xfrm flipH="1">
              <a:off x="8334533" y="392629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8"/>
            <p:cNvSpPr/>
            <p:nvPr/>
          </p:nvSpPr>
          <p:spPr>
            <a:xfrm rot="-5400000">
              <a:off x="8288290" y="433470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9" name="Google Shape;89;p8"/>
          <p:cNvSpPr txBox="1">
            <a:spLocks noGrp="1"/>
          </p:cNvSpPr>
          <p:nvPr>
            <p:ph type="title"/>
          </p:nvPr>
        </p:nvSpPr>
        <p:spPr>
          <a:xfrm>
            <a:off x="823850" y="866775"/>
            <a:ext cx="4587000" cy="352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9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93" name="Google Shape;93;p9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9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5" name="Google Shape;95;p9"/>
          <p:cNvSpPr txBox="1">
            <a:spLocks noGrp="1"/>
          </p:cNvSpPr>
          <p:nvPr>
            <p:ph type="title"/>
          </p:nvPr>
        </p:nvSpPr>
        <p:spPr>
          <a:xfrm>
            <a:off x="1297500" y="1658325"/>
            <a:ext cx="3036300" cy="175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6" name="Google Shape;96;p9"/>
          <p:cNvSpPr txBox="1">
            <a:spLocks noGrp="1"/>
          </p:cNvSpPr>
          <p:nvPr>
            <p:ph type="subTitle" idx="1"/>
          </p:nvPr>
        </p:nvSpPr>
        <p:spPr>
          <a:xfrm>
            <a:off x="1297500" y="3538000"/>
            <a:ext cx="3036300" cy="50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9pPr>
          </a:lstStyle>
          <a:p>
            <a:endParaRPr/>
          </a:p>
        </p:txBody>
      </p:sp>
      <p:sp>
        <p:nvSpPr>
          <p:cNvPr id="97" name="Google Shape;97;p9"/>
          <p:cNvSpPr txBox="1">
            <a:spLocks noGrp="1"/>
          </p:cNvSpPr>
          <p:nvPr>
            <p:ph type="body" idx="2"/>
          </p:nvPr>
        </p:nvSpPr>
        <p:spPr>
          <a:xfrm>
            <a:off x="4648200" y="1696600"/>
            <a:ext cx="3676800" cy="234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98" name="Google Shape;98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oogle Shape;100;p10"/>
          <p:cNvGrpSpPr/>
          <p:nvPr/>
        </p:nvGrpSpPr>
        <p:grpSpPr>
          <a:xfrm>
            <a:off x="0" y="4128572"/>
            <a:ext cx="698925" cy="684657"/>
            <a:chOff x="0" y="3785672"/>
            <a:chExt cx="698925" cy="684657"/>
          </a:xfrm>
        </p:grpSpPr>
        <p:sp>
          <p:nvSpPr>
            <p:cNvPr id="101" name="Google Shape;101;p10"/>
            <p:cNvSpPr/>
            <p:nvPr/>
          </p:nvSpPr>
          <p:spPr>
            <a:xfrm rot="-5400000">
              <a:off x="0" y="3785672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102;p10"/>
            <p:cNvSpPr/>
            <p:nvPr/>
          </p:nvSpPr>
          <p:spPr>
            <a:xfrm flipH="1">
              <a:off x="154125" y="3925529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" name="Google Shape;103;p10"/>
          <p:cNvSpPr txBox="1">
            <a:spLocks noGrp="1"/>
          </p:cNvSpPr>
          <p:nvPr>
            <p:ph type="body" idx="1"/>
          </p:nvPr>
        </p:nvSpPr>
        <p:spPr>
          <a:xfrm>
            <a:off x="812725" y="4305375"/>
            <a:ext cx="6936000" cy="523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104" name="Google Shape;104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37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tags" Target="../tags/tag2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image" Target="../media/image1.emf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43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tags" Target="../tags/tag101.xml"/><Relationship Id="rId21" Type="http://schemas.openxmlformats.org/officeDocument/2006/relationships/tags" Target="../tags/tag83.xml"/><Relationship Id="rId34" Type="http://schemas.openxmlformats.org/officeDocument/2006/relationships/tags" Target="../tags/tag96.xml"/><Relationship Id="rId42" Type="http://schemas.openxmlformats.org/officeDocument/2006/relationships/image" Target="../media/image10.jpeg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37" Type="http://schemas.openxmlformats.org/officeDocument/2006/relationships/tags" Target="../tags/tag99.xml"/><Relationship Id="rId40" Type="http://schemas.openxmlformats.org/officeDocument/2006/relationships/oleObject" Target="../embeddings/oleObject15.bin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tags" Target="../tags/tag98.xml"/><Relationship Id="rId10" Type="http://schemas.openxmlformats.org/officeDocument/2006/relationships/vmlDrawing" Target="../drawings/vmlDrawing15.v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6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tags" Target="../tags/tag97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tags" Target="../tags/tag95.xml"/><Relationship Id="rId38" Type="http://schemas.openxmlformats.org/officeDocument/2006/relationships/tags" Target="../tags/tag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focus"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3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2" name="Google Shape;132;p13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r" rtl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r" rtl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" name="Google Shape;133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ff69f9064e_0_14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gff69f9064e_0_14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gff69f9064e_0_14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gff69f9064e_0_14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" name="Google Shape;89;gff69f9064e_0_14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65771392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43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370636B-1183-4616-A6AE-FB9C686E2807}"/>
              </a:ext>
            </a:extLst>
          </p:cNvPr>
          <p:cNvGrpSpPr/>
          <p:nvPr userDrawn="1"/>
        </p:nvGrpSpPr>
        <p:grpSpPr>
          <a:xfrm>
            <a:off x="0" y="4550667"/>
            <a:ext cx="9144000" cy="592833"/>
            <a:chOff x="0" y="5719989"/>
            <a:chExt cx="9144000" cy="790490"/>
          </a:xfrm>
        </p:grpSpPr>
        <p:pic>
          <p:nvPicPr>
            <p:cNvPr id="63" name="תמונה 39">
              <a:extLst>
                <a:ext uri="{FF2B5EF4-FFF2-40B4-BE49-F238E27FC236}">
                  <a16:creationId xmlns:a16="http://schemas.microsoft.com/office/drawing/2014/main" id="{0E2EB3D4-C4ED-4092-9674-3931F636F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0537"/>
            <a:stretch/>
          </p:blipFill>
          <p:spPr>
            <a:xfrm flipH="1">
              <a:off x="0" y="5719989"/>
              <a:ext cx="9144000" cy="790490"/>
            </a:xfrm>
            <a:prstGeom prst="rect">
              <a:avLst/>
            </a:prstGeom>
          </p:spPr>
        </p:pic>
        <p:pic>
          <p:nvPicPr>
            <p:cNvPr id="64" name="תמונה 51">
              <a:extLst>
                <a:ext uri="{FF2B5EF4-FFF2-40B4-BE49-F238E27FC236}">
                  <a16:creationId xmlns:a16="http://schemas.microsoft.com/office/drawing/2014/main" id="{54171ABE-7C69-429B-93FA-510FCF7CC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59543" y="5816239"/>
              <a:ext cx="963650" cy="651226"/>
            </a:xfrm>
            <a:prstGeom prst="rect">
              <a:avLst/>
            </a:prstGeom>
            <a:ln>
              <a:noFill/>
            </a:ln>
            <a:effectLst>
              <a:outerShdw blurRad="330200" dist="215900" dir="6180000" sx="82000" sy="82000" algn="tl" rotWithShape="0">
                <a:srgbClr val="333333">
                  <a:alpha val="48000"/>
                </a:srgbClr>
              </a:outerShdw>
              <a:softEdge rad="0"/>
            </a:effectLst>
          </p:spPr>
        </p:pic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329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he-I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8395491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e-IL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1224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68924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6466" indent="-466466" algn="r" defTabSz="685122" rtl="1">
              <a:tabLst>
                <a:tab pos="468895" algn="l"/>
              </a:tabLst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מקור מקור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3728340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he-IL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726697" y="1002566"/>
            <a:ext cx="4350892" cy="348650"/>
            <a:chOff x="915" y="743"/>
            <a:chExt cx="2686" cy="28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3"/>
              <a:ext cx="2686" cy="2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r" rtl="1"/>
              <a:r>
                <a:rPr lang="he-IL" sz="1071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כותרת</a:t>
              </a:r>
            </a:p>
            <a:p>
              <a:pPr algn="r" rtl="1"/>
              <a:r>
                <a:rPr lang="he-IL" sz="1071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5807" y="218666"/>
            <a:ext cx="369140" cy="121893"/>
            <a:chOff x="8267440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685122" rtl="1">
                <a:buClr>
                  <a:srgbClr val="002960"/>
                </a:buClr>
              </a:pPr>
              <a:r>
                <a:rPr lang="he-IL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827406" y="4663413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1810958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65749" y="205498"/>
            <a:ext cx="1180945" cy="582684"/>
            <a:chOff x="1371650" y="3276408"/>
            <a:chExt cx="1157367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2071817" y="33841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2071817" y="36508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99" name="LineLegend3"/>
            <p:cNvSpPr>
              <a:spLocks noChangeShapeType="1"/>
            </p:cNvSpPr>
            <p:nvPr/>
          </p:nvSpPr>
          <p:spPr bwMode="gray">
            <a:xfrm>
              <a:off x="2071817" y="3930231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1371650" y="32764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1371650" y="35431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371650" y="3822509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62157" y="205897"/>
            <a:ext cx="855468" cy="786772"/>
            <a:chOff x="5711023" y="3274530"/>
            <a:chExt cx="83838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6384311" y="330208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6384311" y="357195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6384311" y="384342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6384311" y="4114884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711023" y="32745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711023" y="3544405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711023" y="381586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5711023" y="408733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68087" y="202241"/>
            <a:ext cx="907258" cy="1007740"/>
            <a:chOff x="3722920" y="3219525"/>
            <a:chExt cx="889144" cy="1316904"/>
          </a:xfrm>
        </p:grpSpPr>
        <p:grpSp>
          <p:nvGrpSpPr>
            <p:cNvPr id="113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gray">
            <a:xfrm>
              <a:off x="4402514" y="3219525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gray">
            <a:xfrm>
              <a:off x="4402514" y="3501505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gray">
            <a:xfrm>
              <a:off x="4402514" y="4048797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gray">
            <a:xfrm>
              <a:off x="4402514" y="4324031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gray">
            <a:xfrm>
              <a:off x="4402514" y="3775945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 userDrawn="1">
              <p:custDataLst>
                <p:tags r:id="rId17"/>
              </p:custDataLst>
            </p:nvPr>
          </p:nvSpPr>
          <p:spPr bwMode="gray">
            <a:xfrm>
              <a:off x="3722920" y="322094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gray">
            <a:xfrm>
              <a:off x="3722920" y="3498559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gray">
            <a:xfrm>
              <a:off x="3722920" y="3772998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 userDrawn="1">
              <p:custDataLst>
                <p:tags r:id="rId20"/>
              </p:custDataLst>
            </p:nvPr>
          </p:nvSpPr>
          <p:spPr bwMode="gray">
            <a:xfrm>
              <a:off x="3722920" y="4045850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 userDrawn="1">
              <p:custDataLst>
                <p:tags r:id="rId21"/>
              </p:custDataLst>
            </p:nvPr>
          </p:nvSpPr>
          <p:spPr bwMode="gray">
            <a:xfrm>
              <a:off x="3722920" y="432108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8081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hf hdr="0" ftr="0" dt="0"/>
  <p:txStyles>
    <p:titleStyle>
      <a:lvl1pPr algn="r" defTabSz="685122" rtl="1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2143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he-IL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70125376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43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370636B-1183-4616-A6AE-FB9C686E2807}"/>
              </a:ext>
            </a:extLst>
          </p:cNvPr>
          <p:cNvGrpSpPr/>
          <p:nvPr userDrawn="1"/>
        </p:nvGrpSpPr>
        <p:grpSpPr>
          <a:xfrm>
            <a:off x="0" y="4550667"/>
            <a:ext cx="9144000" cy="592833"/>
            <a:chOff x="0" y="5719989"/>
            <a:chExt cx="9144000" cy="790490"/>
          </a:xfrm>
        </p:grpSpPr>
        <p:pic>
          <p:nvPicPr>
            <p:cNvPr id="63" name="תמונה 39">
              <a:extLst>
                <a:ext uri="{FF2B5EF4-FFF2-40B4-BE49-F238E27FC236}">
                  <a16:creationId xmlns:a16="http://schemas.microsoft.com/office/drawing/2014/main" id="{0E2EB3D4-C4ED-4092-9674-3931F636F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0537"/>
            <a:stretch/>
          </p:blipFill>
          <p:spPr>
            <a:xfrm flipH="1">
              <a:off x="0" y="5719989"/>
              <a:ext cx="9144000" cy="790490"/>
            </a:xfrm>
            <a:prstGeom prst="rect">
              <a:avLst/>
            </a:prstGeom>
          </p:spPr>
        </p:pic>
        <p:pic>
          <p:nvPicPr>
            <p:cNvPr id="64" name="תמונה 51">
              <a:extLst>
                <a:ext uri="{FF2B5EF4-FFF2-40B4-BE49-F238E27FC236}">
                  <a16:creationId xmlns:a16="http://schemas.microsoft.com/office/drawing/2014/main" id="{54171ABE-7C69-429B-93FA-510FCF7CC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59543" y="5816239"/>
              <a:ext cx="963650" cy="651226"/>
            </a:xfrm>
            <a:prstGeom prst="rect">
              <a:avLst/>
            </a:prstGeom>
            <a:ln>
              <a:noFill/>
            </a:ln>
            <a:effectLst>
              <a:outerShdw blurRad="330200" dist="215900" dir="6180000" sx="82000" sy="82000" algn="tl" rotWithShape="0">
                <a:srgbClr val="333333">
                  <a:alpha val="48000"/>
                </a:srgbClr>
              </a:outerShdw>
              <a:softEdge rad="0"/>
            </a:effectLst>
          </p:spPr>
        </p:pic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329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he-I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8395491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e-IL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1224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68924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6466" indent="-466466" algn="r" defTabSz="685122" rtl="1">
              <a:tabLst>
                <a:tab pos="468895" algn="l"/>
              </a:tabLst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מקור מקור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3728340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he-IL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726697" y="1002566"/>
            <a:ext cx="4350892" cy="348650"/>
            <a:chOff x="915" y="743"/>
            <a:chExt cx="2686" cy="28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3"/>
              <a:ext cx="2686" cy="2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r" rtl="1"/>
              <a:r>
                <a:rPr lang="he-IL" sz="1071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כותרת</a:t>
              </a:r>
            </a:p>
            <a:p>
              <a:pPr algn="r" rtl="1"/>
              <a:r>
                <a:rPr lang="he-IL" sz="1071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5807" y="218666"/>
            <a:ext cx="369140" cy="121893"/>
            <a:chOff x="8267440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685122" rtl="1">
                <a:buClr>
                  <a:srgbClr val="002960"/>
                </a:buClr>
              </a:pPr>
              <a:r>
                <a:rPr lang="he-IL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827406" y="4663413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1810958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65749" y="205498"/>
            <a:ext cx="1180945" cy="582684"/>
            <a:chOff x="1371650" y="3276408"/>
            <a:chExt cx="1157367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2071817" y="33841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2071817" y="36508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99" name="LineLegend3"/>
            <p:cNvSpPr>
              <a:spLocks noChangeShapeType="1"/>
            </p:cNvSpPr>
            <p:nvPr/>
          </p:nvSpPr>
          <p:spPr bwMode="gray">
            <a:xfrm>
              <a:off x="2071817" y="3930231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1371650" y="32764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1371650" y="35431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1371650" y="3822509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62157" y="205897"/>
            <a:ext cx="855468" cy="786772"/>
            <a:chOff x="5711023" y="3274530"/>
            <a:chExt cx="83838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6384311" y="330208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6384311" y="357195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6384311" y="384342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6384311" y="4114884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711023" y="32745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711023" y="3544405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711023" y="381586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711023" y="408733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68087" y="202241"/>
            <a:ext cx="907258" cy="1007740"/>
            <a:chOff x="3722920" y="3219525"/>
            <a:chExt cx="889144" cy="1316904"/>
          </a:xfrm>
        </p:grpSpPr>
        <p:grpSp>
          <p:nvGrpSpPr>
            <p:cNvPr id="113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gray">
            <a:xfrm>
              <a:off x="4402514" y="3219525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gray">
            <a:xfrm>
              <a:off x="4402514" y="3501505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gray">
            <a:xfrm>
              <a:off x="4402514" y="4048797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gray">
            <a:xfrm>
              <a:off x="4402514" y="4324031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gray">
            <a:xfrm>
              <a:off x="4402514" y="3775945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 userDrawn="1">
              <p:custDataLst>
                <p:tags r:id="rId16"/>
              </p:custDataLst>
            </p:nvPr>
          </p:nvSpPr>
          <p:spPr bwMode="gray">
            <a:xfrm>
              <a:off x="3722920" y="322094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 userDrawn="1">
              <p:custDataLst>
                <p:tags r:id="rId17"/>
              </p:custDataLst>
            </p:nvPr>
          </p:nvSpPr>
          <p:spPr bwMode="gray">
            <a:xfrm>
              <a:off x="3722920" y="3498559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gray">
            <a:xfrm>
              <a:off x="3722920" y="3772998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gray">
            <a:xfrm>
              <a:off x="3722920" y="4045850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 userDrawn="1">
              <p:custDataLst>
                <p:tags r:id="rId20"/>
              </p:custDataLst>
            </p:nvPr>
          </p:nvSpPr>
          <p:spPr bwMode="gray">
            <a:xfrm>
              <a:off x="3722920" y="432108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01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</p:sldLayoutIdLst>
  <p:hf hdr="0" ftr="0" dt="0"/>
  <p:txStyles>
    <p:titleStyle>
      <a:lvl1pPr algn="r" defTabSz="685122" rtl="1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2143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he-IL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68152756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43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5" name="Picture 11" descr="×ª××¦××ª ×ª××× × ×¢×××¨ âªnight skyâ¬â">
            <a:extLst>
              <a:ext uri="{FF2B5EF4-FFF2-40B4-BE49-F238E27FC236}">
                <a16:creationId xmlns:a16="http://schemas.microsoft.com/office/drawing/2014/main" id="{3CD7CF7E-2BB5-461F-BE6E-66A2855B5F3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7" r="8337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1370636B-1183-4616-A6AE-FB9C686E2807}"/>
              </a:ext>
            </a:extLst>
          </p:cNvPr>
          <p:cNvGrpSpPr/>
          <p:nvPr userDrawn="1"/>
        </p:nvGrpSpPr>
        <p:grpSpPr>
          <a:xfrm>
            <a:off x="0" y="4550667"/>
            <a:ext cx="9144000" cy="592833"/>
            <a:chOff x="0" y="5719989"/>
            <a:chExt cx="9144000" cy="790490"/>
          </a:xfrm>
        </p:grpSpPr>
        <p:pic>
          <p:nvPicPr>
            <p:cNvPr id="63" name="תמונה 39">
              <a:extLst>
                <a:ext uri="{FF2B5EF4-FFF2-40B4-BE49-F238E27FC236}">
                  <a16:creationId xmlns:a16="http://schemas.microsoft.com/office/drawing/2014/main" id="{0E2EB3D4-C4ED-4092-9674-3931F636F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0537"/>
            <a:stretch/>
          </p:blipFill>
          <p:spPr>
            <a:xfrm flipH="1">
              <a:off x="0" y="5719989"/>
              <a:ext cx="9144000" cy="790490"/>
            </a:xfrm>
            <a:prstGeom prst="rect">
              <a:avLst/>
            </a:prstGeom>
          </p:spPr>
        </p:pic>
        <p:pic>
          <p:nvPicPr>
            <p:cNvPr id="64" name="תמונה 51">
              <a:extLst>
                <a:ext uri="{FF2B5EF4-FFF2-40B4-BE49-F238E27FC236}">
                  <a16:creationId xmlns:a16="http://schemas.microsoft.com/office/drawing/2014/main" id="{54171ABE-7C69-429B-93FA-510FCF7CC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59543" y="5816239"/>
              <a:ext cx="963650" cy="651226"/>
            </a:xfrm>
            <a:prstGeom prst="rect">
              <a:avLst/>
            </a:prstGeom>
            <a:ln>
              <a:noFill/>
            </a:ln>
            <a:effectLst>
              <a:outerShdw blurRad="330200" dist="215900" dir="6180000" sx="82000" sy="82000" algn="tl" rotWithShape="0">
                <a:srgbClr val="333333">
                  <a:alpha val="48000"/>
                </a:srgbClr>
              </a:outerShdw>
              <a:softEdge rad="0"/>
            </a:effectLst>
          </p:spPr>
        </p:pic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329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he-I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8395491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he-IL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1224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4826085"/>
            <a:ext cx="8794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1">
              <a:defRPr/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68924" y="4980366"/>
            <a:ext cx="73466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6466" indent="-466466" algn="r" defTabSz="685122" rtl="1">
              <a:tabLst>
                <a:tab pos="468895" algn="l"/>
              </a:tabLst>
            </a:pPr>
            <a:r>
              <a:rPr lang="he-IL" sz="612" baseline="0" dirty="0">
                <a:solidFill>
                  <a:schemeClr val="accent6"/>
                </a:solidFill>
                <a:latin typeface="+mn-lt"/>
                <a:ea typeface="+mn-ea"/>
              </a:rPr>
              <a:t>מקור מקור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3728340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he-IL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726697" y="1002566"/>
            <a:ext cx="4350892" cy="348650"/>
            <a:chOff x="915" y="743"/>
            <a:chExt cx="2686" cy="28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3"/>
              <a:ext cx="2686" cy="2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r" rtl="1"/>
              <a:r>
                <a:rPr lang="he-IL" sz="1071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כותרת</a:t>
              </a:r>
            </a:p>
            <a:p>
              <a:pPr algn="r" rtl="1"/>
              <a:r>
                <a:rPr lang="he-IL" sz="1071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05807" y="218666"/>
            <a:ext cx="369140" cy="121893"/>
            <a:chOff x="8267440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685122" rtl="1">
                <a:buClr>
                  <a:srgbClr val="002960"/>
                </a:buClr>
              </a:pPr>
              <a:r>
                <a:rPr lang="he-IL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827406" y="4663413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071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5" name="doc id" hidden="1"/>
          <p:cNvSpPr>
            <a:spLocks noChangeArrowheads="1"/>
          </p:cNvSpPr>
          <p:nvPr userDrawn="1"/>
        </p:nvSpPr>
        <p:spPr bwMode="auto">
          <a:xfrm>
            <a:off x="125782" y="38875"/>
            <a:ext cx="1810958" cy="110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685122"/>
            <a:endParaRPr lang="he-IL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65749" y="205498"/>
            <a:ext cx="1180945" cy="582684"/>
            <a:chOff x="1371650" y="3276408"/>
            <a:chExt cx="1157367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2071817" y="33841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2071817" y="3650830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99" name="LineLegend3"/>
            <p:cNvSpPr>
              <a:spLocks noChangeShapeType="1"/>
            </p:cNvSpPr>
            <p:nvPr/>
          </p:nvSpPr>
          <p:spPr bwMode="gray">
            <a:xfrm>
              <a:off x="2071817" y="3930231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1371650" y="32764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371650" y="354310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1371650" y="3822509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62157" y="205897"/>
            <a:ext cx="855468" cy="786772"/>
            <a:chOff x="5711023" y="3274530"/>
            <a:chExt cx="83838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6384311" y="330208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6384311" y="357195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6384311" y="384342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6384311" y="4114884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711023" y="32745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711023" y="3544405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5711023" y="381586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5711023" y="408733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68087" y="202241"/>
            <a:ext cx="907258" cy="1007740"/>
            <a:chOff x="3722920" y="3219525"/>
            <a:chExt cx="889144" cy="1316904"/>
          </a:xfrm>
        </p:grpSpPr>
        <p:grpSp>
          <p:nvGrpSpPr>
            <p:cNvPr id="113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gray">
            <a:xfrm>
              <a:off x="4402514" y="3219525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gray">
            <a:xfrm>
              <a:off x="4402514" y="3501505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gray">
            <a:xfrm>
              <a:off x="4402514" y="4048797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gray">
            <a:xfrm>
              <a:off x="4402514" y="4324031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gray">
            <a:xfrm>
              <a:off x="4402514" y="3775945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he-IL" sz="107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gray">
            <a:xfrm>
              <a:off x="3722920" y="322094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gray">
            <a:xfrm>
              <a:off x="3722920" y="3498559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 userDrawn="1">
              <p:custDataLst>
                <p:tags r:id="rId20"/>
              </p:custDataLst>
            </p:nvPr>
          </p:nvSpPr>
          <p:spPr bwMode="gray">
            <a:xfrm>
              <a:off x="3722920" y="3772998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 userDrawn="1">
              <p:custDataLst>
                <p:tags r:id="rId21"/>
              </p:custDataLst>
            </p:nvPr>
          </p:nvSpPr>
          <p:spPr bwMode="gray">
            <a:xfrm>
              <a:off x="3722920" y="4045850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 userDrawn="1">
              <p:custDataLst>
                <p:tags r:id="rId22"/>
              </p:custDataLst>
            </p:nvPr>
          </p:nvSpPr>
          <p:spPr bwMode="gray">
            <a:xfrm>
              <a:off x="3722920" y="4321084"/>
              <a:ext cx="452448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he-IL" sz="1071" baseline="0">
                  <a:latin typeface="+mn-lt"/>
                  <a:ea typeface="+mn-ea"/>
                </a:rPr>
                <a:t>Legend</a:t>
              </a:r>
              <a:endParaRPr lang="he-IL" sz="1071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444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hf hdr="0" ftr="0" dt="0"/>
  <p:txStyles>
    <p:titleStyle>
      <a:lvl1pPr algn="r" defTabSz="685122" rtl="1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2143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r" defTabSz="685122" rtl="1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he-IL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22.png"/><Relationship Id="rId3" Type="http://schemas.openxmlformats.org/officeDocument/2006/relationships/tags" Target="../tags/tag114.xml"/><Relationship Id="rId7" Type="http://schemas.openxmlformats.org/officeDocument/2006/relationships/image" Target="../media/image18.emf"/><Relationship Id="rId12" Type="http://schemas.openxmlformats.org/officeDocument/2006/relationships/image" Target="../media/image21.jpeg"/><Relationship Id="rId2" Type="http://schemas.openxmlformats.org/officeDocument/2006/relationships/tags" Target="../tags/tag113.xml"/><Relationship Id="rId16" Type="http://schemas.openxmlformats.org/officeDocument/2006/relationships/image" Target="../media/image32.svg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27.jpe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24.png"/><Relationship Id="rId10" Type="http://schemas.openxmlformats.org/officeDocument/2006/relationships/image" Target="../media/image38.jpe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31.jpeg"/><Relationship Id="rId1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hyperlink" Target="https://en.wikipedia.org/wiki/Epoch_(astronomy)#Julian_years_and_J2000https://en.wikipedia.org/wiki/Epoch_(astronomy)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en.wikipedia.org/wiki/Earth-centered_inertial" TargetMode="External"/><Relationship Id="rId5" Type="http://schemas.openxmlformats.org/officeDocument/2006/relationships/image" Target="../media/image42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en.wikipedia.org/wiki/Epoch_(astronomy)#Julian_years_and_J2000https://en.wikipedia.org/wiki/Epoch_(astronomy)" TargetMode="External"/><Relationship Id="rId5" Type="http://schemas.openxmlformats.org/officeDocument/2006/relationships/image" Target="../media/image43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hyperlink" Target="https://en.wikipedia.org/wiki/Epoch_(astronomy)#Julian_years_and_J2000https://en.wikipedia.org/wiki/Epoch_(astronomy)" TargetMode="Externa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13" Type="http://schemas.openxmlformats.org/officeDocument/2006/relationships/image" Target="../media/image54.png"/><Relationship Id="rId3" Type="http://schemas.openxmlformats.org/officeDocument/2006/relationships/image" Target="../media/image12.png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16.pn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13" Type="http://schemas.openxmlformats.org/officeDocument/2006/relationships/image" Target="../media/image24.png"/><Relationship Id="rId3" Type="http://schemas.openxmlformats.org/officeDocument/2006/relationships/tags" Target="../tags/tag111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23.png"/><Relationship Id="rId17" Type="http://schemas.openxmlformats.org/officeDocument/2006/relationships/image" Target="../media/image28.jpeg"/><Relationship Id="rId2" Type="http://schemas.openxmlformats.org/officeDocument/2006/relationships/tags" Target="../tags/tag110.xml"/><Relationship Id="rId16" Type="http://schemas.openxmlformats.org/officeDocument/2006/relationships/image" Target="../media/image27.jpeg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26.jpeg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20.jpeg"/><Relationship Id="rId14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13" Type="http://schemas.openxmlformats.org/officeDocument/2006/relationships/image" Target="../media/image22.png"/><Relationship Id="rId18" Type="http://schemas.openxmlformats.org/officeDocument/2006/relationships/image" Target="../media/image27.jpeg"/><Relationship Id="rId3" Type="http://schemas.microsoft.com/office/2007/relationships/media" Target="../media/media1.mp4"/><Relationship Id="rId7" Type="http://schemas.openxmlformats.org/officeDocument/2006/relationships/oleObject" Target="../embeddings/oleObject24.bin"/><Relationship Id="rId12" Type="http://schemas.openxmlformats.org/officeDocument/2006/relationships/image" Target="../media/image21.jpeg"/><Relationship Id="rId17" Type="http://schemas.openxmlformats.org/officeDocument/2006/relationships/image" Target="../media/image26.jpeg"/><Relationship Id="rId2" Type="http://schemas.openxmlformats.org/officeDocument/2006/relationships/tags" Target="../tags/tag112.xml"/><Relationship Id="rId16" Type="http://schemas.openxmlformats.org/officeDocument/2006/relationships/image" Target="../media/image32.svg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31.jpeg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24.png"/><Relationship Id="rId10" Type="http://schemas.openxmlformats.org/officeDocument/2006/relationships/image" Target="../media/image30.jpeg"/><Relationship Id="rId4" Type="http://schemas.openxmlformats.org/officeDocument/2006/relationships/video" Target="../media/media1.mp4"/><Relationship Id="rId9" Type="http://schemas.openxmlformats.org/officeDocument/2006/relationships/image" Target="../media/image29.png"/><Relationship Id="rId1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25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1" name="Google Shape;211;p25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endParaRPr/>
          </a:p>
        </p:txBody>
      </p:sp>
      <p:pic>
        <p:nvPicPr>
          <p:cNvPr id="212" name="Google Shape;212;p25"/>
          <p:cNvPicPr preferRelativeResize="0"/>
          <p:nvPr/>
        </p:nvPicPr>
        <p:blipFill rotWithShape="1">
          <a:blip r:embed="rId3">
            <a:alphaModFix/>
          </a:blip>
          <a:srcRect b="21658"/>
          <a:stretch/>
        </p:blipFill>
        <p:spPr>
          <a:xfrm>
            <a:off x="0" y="-17859"/>
            <a:ext cx="9144000" cy="51482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13" name="Google Shape;213;p2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64719" y="937022"/>
            <a:ext cx="2214563" cy="1795463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25"/>
          <p:cNvSpPr txBox="1"/>
          <p:nvPr/>
        </p:nvSpPr>
        <p:spPr>
          <a:xfrm>
            <a:off x="2287191" y="3027760"/>
            <a:ext cx="4575572" cy="1131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50" b="0" i="0" u="none" strike="noStrike" cap="none" dirty="0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האקתון מבית תוכנית מושל </a:t>
            </a:r>
            <a:endParaRPr dirty="0"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0" i="0" u="none" strike="noStrike" cap="none" dirty="0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 אתגר </a:t>
            </a:r>
            <a:r>
              <a:rPr lang="he-IL" sz="1500" b="0" i="0" u="none" strike="noStrike" cap="none" dirty="0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2</a:t>
            </a:r>
            <a:r>
              <a:rPr lang="en" sz="1500" b="0" i="0" u="none" strike="noStrike" cap="none" dirty="0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#</a:t>
            </a:r>
            <a:endParaRPr dirty="0"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he-IL" sz="1500" dirty="0">
                <a:solidFill>
                  <a:srgbClr val="FFFFFF"/>
                </a:solidFill>
                <a:latin typeface="Heebo"/>
                <a:cs typeface="Heebo"/>
                <a:sym typeface="Heebo"/>
              </a:rPr>
              <a:t>ויזואליזציה למסלול החללית</a:t>
            </a:r>
            <a:br>
              <a:rPr lang="en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endParaRPr sz="1500" b="0" i="0" u="none" strike="noStrike" cap="none" dirty="0">
              <a:solidFill>
                <a:srgbClr val="FFFFFF"/>
              </a:solidFill>
              <a:latin typeface="Heebo"/>
              <a:ea typeface="Heebo"/>
              <a:cs typeface="Heebo"/>
              <a:sym typeface="Heebo"/>
            </a:endParaRPr>
          </a:p>
        </p:txBody>
      </p:sp>
      <p:pic>
        <p:nvPicPr>
          <p:cNvPr id="215" name="Google Shape;215;p2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4604" y="465535"/>
            <a:ext cx="1315640" cy="476250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25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7" name="Google Shape;217;p25" descr="A picture containing text, clipart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92591" y="4481931"/>
            <a:ext cx="1095375" cy="266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C389A4-F84A-4722-B091-A97A611616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8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C389A4-F84A-4722-B091-A97A61161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418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90D0102-9DC8-40FD-97FA-33FF381842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699" fontAlgn="base">
              <a:spcBef>
                <a:spcPct val="0"/>
              </a:spcBef>
              <a:spcAft>
                <a:spcPct val="0"/>
              </a:spcAft>
              <a:buClrTx/>
            </a:pPr>
            <a:endParaRPr lang="he-IL" sz="2143" b="1" kern="1200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C7B28-C54E-4627-A6F3-991F502364F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234314" y="176149"/>
            <a:ext cx="6595196" cy="659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he-IL" dirty="0"/>
              <a:t>פרופיל הנחיתה </a:t>
            </a:r>
            <a:br>
              <a:rPr lang="en-US" dirty="0"/>
            </a:b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43203" y="611253"/>
            <a:ext cx="6857595" cy="392099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68635E1-5BE1-4A84-A87C-ECE0BB79120D}"/>
              </a:ext>
            </a:extLst>
          </p:cNvPr>
          <p:cNvGrpSpPr/>
          <p:nvPr/>
        </p:nvGrpSpPr>
        <p:grpSpPr>
          <a:xfrm>
            <a:off x="1205512" y="55753"/>
            <a:ext cx="2022791" cy="504725"/>
            <a:chOff x="-1663700" y="1328510"/>
            <a:chExt cx="2643363" cy="659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E58BA46-C184-4FD6-AE6A-F3D62ED8B89E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021" t="14135" r="14797" b="27348"/>
            <a:stretch/>
          </p:blipFill>
          <p:spPr>
            <a:xfrm>
              <a:off x="428749" y="1667917"/>
              <a:ext cx="550914" cy="320163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90B992D-44B7-4FC2-9E30-14779890A177}"/>
                </a:ext>
              </a:extLst>
            </p:cNvPr>
            <p:cNvSpPr>
              <a:spLocks/>
            </p:cNvSpPr>
            <p:nvPr/>
          </p:nvSpPr>
          <p:spPr>
            <a:xfrm>
              <a:off x="428749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612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B925503-1E97-47B9-8EEA-B878255FDD2D}"/>
                </a:ext>
              </a:extLst>
            </p:cNvPr>
            <p:cNvSpPr txBox="1"/>
            <p:nvPr/>
          </p:nvSpPr>
          <p:spPr>
            <a:xfrm>
              <a:off x="512287" y="1574705"/>
              <a:ext cx="383838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שיגור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3787A46-E99E-4601-B792-7885B1063FF8}"/>
                </a:ext>
              </a:extLst>
            </p:cNvPr>
            <p:cNvSpPr>
              <a:spLocks/>
            </p:cNvSpPr>
            <p:nvPr/>
          </p:nvSpPr>
          <p:spPr>
            <a:xfrm>
              <a:off x="-764433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306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04B476F-1EFC-4417-A4F0-9E8F0A8F5457}"/>
                </a:ext>
              </a:extLst>
            </p:cNvPr>
            <p:cNvSpPr txBox="1"/>
            <p:nvPr/>
          </p:nvSpPr>
          <p:spPr>
            <a:xfrm>
              <a:off x="-669975" y="1574705"/>
              <a:ext cx="361999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תקשורת / מעקב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B44EDCB-8A52-4AB6-894F-156DEE4EFF61}"/>
                </a:ext>
              </a:extLst>
            </p:cNvPr>
            <p:cNvPicPr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663700" y="1492018"/>
              <a:ext cx="853590" cy="496062"/>
            </a:xfrm>
            <a:prstGeom prst="rect">
              <a:avLst/>
            </a:prstGeom>
            <a:effectLst>
              <a:reflection blurRad="6350" stA="50000" endA="300" endPos="55000" dir="5400000" sy="-100000" algn="bl" rotWithShape="0"/>
            </a:effec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1A9CD38-8D28-4296-BC72-91DF5AF99CAE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7"/>
            <a:stretch/>
          </p:blipFill>
          <p:spPr>
            <a:xfrm>
              <a:off x="-764433" y="1667917"/>
              <a:ext cx="550914" cy="320163"/>
            </a:xfrm>
            <a:prstGeom prst="rect">
              <a:avLst/>
            </a:prstGeom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41FE7E7-9FAA-42A0-8E9D-A6853D4BC639}"/>
                </a:ext>
              </a:extLst>
            </p:cNvPr>
            <p:cNvGrpSpPr/>
            <p:nvPr/>
          </p:nvGrpSpPr>
          <p:grpSpPr>
            <a:xfrm>
              <a:off x="-167842" y="1667917"/>
              <a:ext cx="550914" cy="320163"/>
              <a:chOff x="5356480" y="308462"/>
              <a:chExt cx="853590" cy="496062"/>
            </a:xfrm>
          </p:grpSpPr>
          <p:pic>
            <p:nvPicPr>
              <p:cNvPr id="22" name="תמונה 23">
                <a:hlinkClick r:id="" action="ppaction://noaction"/>
                <a:extLst>
                  <a:ext uri="{FF2B5EF4-FFF2-40B4-BE49-F238E27FC236}">
                    <a16:creationId xmlns:a16="http://schemas.microsoft.com/office/drawing/2014/main" id="{D083EF40-9091-4671-AB0F-9EA698FB377B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2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4394" t="29917" b="25730"/>
              <a:stretch/>
            </p:blipFill>
            <p:spPr>
              <a:xfrm>
                <a:off x="5356480" y="308462"/>
                <a:ext cx="853590" cy="496062"/>
              </a:xfrm>
              <a:prstGeom prst="rect">
                <a:avLst/>
              </a:prstGeom>
              <a:effectLst>
                <a:outerShdw blurRad="203200" dir="13500000" sy="23000" kx="1200000" algn="br" rotWithShape="0">
                  <a:schemeClr val="bg1">
                    <a:lumMod val="50000"/>
                    <a:alpha val="20000"/>
                  </a:schemeClr>
                </a:outerShdw>
              </a:effectLst>
            </p:spPr>
          </p:pic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69DEC82C-D377-4D58-A498-9CEA0A7FA371}"/>
                  </a:ext>
                </a:extLst>
              </p:cNvPr>
              <p:cNvGrpSpPr/>
              <p:nvPr/>
            </p:nvGrpSpPr>
            <p:grpSpPr>
              <a:xfrm>
                <a:off x="5413814" y="380985"/>
                <a:ext cx="738922" cy="351016"/>
                <a:chOff x="3286855" y="1515133"/>
                <a:chExt cx="2508473" cy="1191621"/>
              </a:xfrm>
            </p:grpSpPr>
            <p:pic>
              <p:nvPicPr>
                <p:cNvPr id="24" name="תמונה 3">
                  <a:extLst>
                    <a:ext uri="{FF2B5EF4-FFF2-40B4-BE49-F238E27FC236}">
                      <a16:creationId xmlns:a16="http://schemas.microsoft.com/office/drawing/2014/main" id="{99F130B5-BCDD-459E-A3E1-C4F5CABCB7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07594" y="2270886"/>
                  <a:ext cx="378054" cy="435868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  <p:pic>
              <p:nvPicPr>
                <p:cNvPr id="25" name="תמונה 5">
                  <a:extLst>
                    <a:ext uri="{FF2B5EF4-FFF2-40B4-BE49-F238E27FC236}">
                      <a16:creationId xmlns:a16="http://schemas.microsoft.com/office/drawing/2014/main" id="{D8539D6D-4514-49DB-A077-EA1CF64788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8990" y="1515133"/>
                  <a:ext cx="95300" cy="109874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  <p:pic>
              <p:nvPicPr>
                <p:cNvPr id="26" name="גרפיקה 1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4A2B62FD-0262-47E6-B54A-74AC2B0CF1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86855" y="1545993"/>
                  <a:ext cx="2508473" cy="1115929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</p:grp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4971084-5890-4FF2-A2A5-86AF7D4C0FBA}"/>
                </a:ext>
              </a:extLst>
            </p:cNvPr>
            <p:cNvSpPr>
              <a:spLocks/>
            </p:cNvSpPr>
            <p:nvPr/>
          </p:nvSpPr>
          <p:spPr>
            <a:xfrm>
              <a:off x="-167842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612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A78F6F8-5F23-410B-B151-7B5C973BBEA4}"/>
                </a:ext>
              </a:extLst>
            </p:cNvPr>
            <p:cNvSpPr txBox="1"/>
            <p:nvPr/>
          </p:nvSpPr>
          <p:spPr>
            <a:xfrm>
              <a:off x="-84304" y="1574705"/>
              <a:ext cx="383838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ניווט ולכידת הירח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7CB4970-83E9-4A25-96F1-58B7C345A597}"/>
                </a:ext>
              </a:extLst>
            </p:cNvPr>
            <p:cNvGrpSpPr/>
            <p:nvPr/>
          </p:nvGrpSpPr>
          <p:grpSpPr>
            <a:xfrm>
              <a:off x="-1663700" y="1328510"/>
              <a:ext cx="853590" cy="133543"/>
              <a:chOff x="-1663700" y="1320632"/>
              <a:chExt cx="853590" cy="133543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BBA9413-D1ED-4552-ABF0-1A43A6EC7A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663700" y="1320632"/>
                <a:ext cx="853590" cy="13354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612" kern="12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40B2811-2C21-4FA2-ABAB-E73899DE417D}"/>
                  </a:ext>
                </a:extLst>
              </p:cNvPr>
              <p:cNvSpPr txBox="1"/>
              <p:nvPr/>
            </p:nvSpPr>
            <p:spPr>
              <a:xfrm>
                <a:off x="-1625837" y="1325847"/>
                <a:ext cx="777864" cy="1230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</a:pPr>
                <a:r>
                  <a:rPr lang="he-IL" sz="612" b="1" kern="1200" dirty="0">
                    <a:solidFill>
                      <a:srgbClr val="FFFFFF"/>
                    </a:solidFill>
                    <a:latin typeface="Arial" charset="0"/>
                    <a:ea typeface="+mn-ea"/>
                    <a:cs typeface="+mn-cs"/>
                  </a:rPr>
                  <a:t>נחיתה אוטונומית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03157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1362" name="Picture 2" descr="×ª××¦××ª ×ª××× × ×¢×××¨ âªspaceilâ¬â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94" y="31762"/>
            <a:ext cx="4218336" cy="2327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1364" name="Picture 4" descr="×ª××× × ×§×©××¨×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156" y="2439335"/>
            <a:ext cx="4810642" cy="2704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860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99699" fontAlgn="base">
              <a:buClrTx/>
            </a:pPr>
            <a:fld id="{00000000-1234-1234-1234-123412341234}" type="slidenum">
              <a:rPr lang="en-US" kern="1200"/>
              <a:pPr defTabSz="699699" fontAlgn="base">
                <a:buClrTx/>
              </a:pPr>
              <a:t>12</a:t>
            </a:fld>
            <a:endParaRPr lang="en-US" kern="1200"/>
          </a:p>
        </p:txBody>
      </p:sp>
      <p:pic>
        <p:nvPicPr>
          <p:cNvPr id="4" name="תמונה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10" y="120941"/>
            <a:ext cx="4542103" cy="4542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761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26"/>
          <p:cNvPicPr preferRelativeResize="0"/>
          <p:nvPr/>
        </p:nvPicPr>
        <p:blipFill rotWithShape="1">
          <a:blip r:embed="rId3">
            <a:alphaModFix/>
          </a:blip>
          <a:srcRect t="77980" b="1482"/>
          <a:stretch/>
        </p:blipFill>
        <p:spPr>
          <a:xfrm>
            <a:off x="0" y="0"/>
            <a:ext cx="9145191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1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26"/>
          <p:cNvSpPr txBox="1"/>
          <p:nvPr/>
        </p:nvSpPr>
        <p:spPr>
          <a:xfrm>
            <a:off x="2287191" y="3027760"/>
            <a:ext cx="4575572" cy="669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en" sz="225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האקתון מבית תוכנית מושל </a:t>
            </a:r>
            <a:endParaRPr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Arial"/>
              <a:buNone/>
            </a:pPr>
            <a:r>
              <a:rPr lang="en" sz="15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נובמבר 2022</a:t>
            </a:r>
            <a:endParaRPr/>
          </a:p>
        </p:txBody>
      </p:sp>
      <p:sp>
        <p:nvSpPr>
          <p:cNvPr id="226" name="Google Shape;226;p26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26"/>
          <p:cNvSpPr txBox="1"/>
          <p:nvPr/>
        </p:nvSpPr>
        <p:spPr>
          <a:xfrm>
            <a:off x="2946399" y="407351"/>
            <a:ext cx="5710625" cy="784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he-IL" sz="2250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דאטה מבראשית1 - מיקום ומהירות החללית ביחס לכדור הארץ</a:t>
            </a:r>
            <a:endParaRPr sz="2250" b="0" i="0" u="none" strike="noStrike" cap="none" dirty="0">
              <a:solidFill>
                <a:srgbClr val="FFFFFF"/>
              </a:solidFill>
              <a:latin typeface="Heebo Medium"/>
              <a:ea typeface="Heebo Medium"/>
              <a:cs typeface="Heebo Medium"/>
              <a:sym typeface="Heebo Medium"/>
            </a:endParaRPr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D09C1F1B-8A3A-4C29-A272-9EE800CBD6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898" y="2031417"/>
            <a:ext cx="8780522" cy="2249871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932B8F7B-6A56-4E4D-B479-B5F3AC97BEB5}"/>
              </a:ext>
            </a:extLst>
          </p:cNvPr>
          <p:cNvSpPr txBox="1"/>
          <p:nvPr/>
        </p:nvSpPr>
        <p:spPr>
          <a:xfrm>
            <a:off x="294898" y="1492659"/>
            <a:ext cx="87805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Earth_data.csv- written in 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  <a:hlinkClick r:id="rId6"/>
              </a:rPr>
              <a:t>ECI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 (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  <a:hlinkClick r:id="rId7"/>
              </a:rPr>
              <a:t>J2000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) coordinates, starting from the beginning of the mission.</a:t>
            </a:r>
            <a:endParaRPr lang="he-IL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7390591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26"/>
          <p:cNvPicPr preferRelativeResize="0"/>
          <p:nvPr/>
        </p:nvPicPr>
        <p:blipFill rotWithShape="1">
          <a:blip r:embed="rId3">
            <a:alphaModFix/>
          </a:blip>
          <a:srcRect t="77980" b="1482"/>
          <a:stretch/>
        </p:blipFill>
        <p:spPr>
          <a:xfrm>
            <a:off x="0" y="0"/>
            <a:ext cx="9145191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1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26"/>
          <p:cNvSpPr txBox="1"/>
          <p:nvPr/>
        </p:nvSpPr>
        <p:spPr>
          <a:xfrm>
            <a:off x="2287191" y="3027760"/>
            <a:ext cx="4575572" cy="669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en" sz="225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האקתון מבית תוכנית מושל </a:t>
            </a:r>
            <a:endParaRPr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Arial"/>
              <a:buNone/>
            </a:pPr>
            <a:r>
              <a:rPr lang="en" sz="15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נובמבר 2022</a:t>
            </a:r>
            <a:endParaRPr/>
          </a:p>
        </p:txBody>
      </p:sp>
      <p:sp>
        <p:nvSpPr>
          <p:cNvPr id="226" name="Google Shape;226;p26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26"/>
          <p:cNvSpPr txBox="1"/>
          <p:nvPr/>
        </p:nvSpPr>
        <p:spPr>
          <a:xfrm>
            <a:off x="2736047" y="407351"/>
            <a:ext cx="5920978" cy="784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he-IL" sz="2250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דאטה מבראשית1 - מיקום ומהירות החללית ביחס לירח</a:t>
            </a:r>
            <a:endParaRPr sz="2250" b="0" i="0" u="none" strike="noStrike" cap="none" dirty="0">
              <a:solidFill>
                <a:srgbClr val="FFFFFF"/>
              </a:solidFill>
              <a:latin typeface="Heebo Medium"/>
              <a:ea typeface="Heebo Medium"/>
              <a:cs typeface="Heebo Medium"/>
              <a:sym typeface="Heebo Medium"/>
            </a:endParaRPr>
          </a:p>
        </p:txBody>
      </p:sp>
      <p:pic>
        <p:nvPicPr>
          <p:cNvPr id="10" name="תמונה 9">
            <a:extLst>
              <a:ext uri="{FF2B5EF4-FFF2-40B4-BE49-F238E27FC236}">
                <a16:creationId xmlns:a16="http://schemas.microsoft.com/office/drawing/2014/main" id="{04D1E48E-9C81-4679-B222-2F38560250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047" y="1961259"/>
            <a:ext cx="8660506" cy="2249871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3A4529AA-C235-46F2-9DB6-9C8BE6A818E2}"/>
              </a:ext>
            </a:extLst>
          </p:cNvPr>
          <p:cNvSpPr txBox="1"/>
          <p:nvPr/>
        </p:nvSpPr>
        <p:spPr>
          <a:xfrm>
            <a:off x="220603" y="1438039"/>
            <a:ext cx="89233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moon_data.csv- contains the information in lunar centric (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  <a:hlinkClick r:id="rId6"/>
              </a:rPr>
              <a:t>J2000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) coordinates, starting from the moment the spacecraft enters moon orbit.</a:t>
            </a:r>
            <a:endParaRPr lang="en-IL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26"/>
          <p:cNvPicPr preferRelativeResize="0"/>
          <p:nvPr/>
        </p:nvPicPr>
        <p:blipFill rotWithShape="1">
          <a:blip r:embed="rId3">
            <a:alphaModFix/>
          </a:blip>
          <a:srcRect t="77980" b="1482"/>
          <a:stretch/>
        </p:blipFill>
        <p:spPr>
          <a:xfrm>
            <a:off x="0" y="0"/>
            <a:ext cx="9145191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1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26"/>
          <p:cNvSpPr txBox="1"/>
          <p:nvPr/>
        </p:nvSpPr>
        <p:spPr>
          <a:xfrm>
            <a:off x="2287191" y="3027760"/>
            <a:ext cx="4575572" cy="669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en" sz="2250" b="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האקתון מבית תוכנית מושל </a:t>
            </a:r>
            <a:endParaRPr dirty="0"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Arial"/>
              <a:buNone/>
            </a:pPr>
            <a:r>
              <a:rPr lang="en" sz="1500" b="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נובמבר 2022</a:t>
            </a:r>
            <a:endParaRPr dirty="0"/>
          </a:p>
        </p:txBody>
      </p:sp>
      <p:sp>
        <p:nvSpPr>
          <p:cNvPr id="226" name="Google Shape;226;p26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26"/>
          <p:cNvSpPr txBox="1"/>
          <p:nvPr/>
        </p:nvSpPr>
        <p:spPr>
          <a:xfrm>
            <a:off x="2736047" y="407351"/>
            <a:ext cx="5920978" cy="784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he-IL" sz="2250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דאטה מהירח - מיקום ומהירות הירח ביחס לכדור הארץ</a:t>
            </a:r>
            <a:endParaRPr sz="2250" b="0" i="0" u="none" strike="noStrike" cap="none" dirty="0">
              <a:solidFill>
                <a:srgbClr val="FFFFFF"/>
              </a:solidFill>
              <a:latin typeface="Heebo Medium"/>
              <a:ea typeface="Heebo Medium"/>
              <a:cs typeface="Heebo Medium"/>
              <a:sym typeface="Heebo Medium"/>
            </a:endParaRPr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3A4529AA-C235-46F2-9DB6-9C8BE6A818E2}"/>
              </a:ext>
            </a:extLst>
          </p:cNvPr>
          <p:cNvSpPr txBox="1"/>
          <p:nvPr/>
        </p:nvSpPr>
        <p:spPr>
          <a:xfrm>
            <a:off x="220603" y="1438039"/>
            <a:ext cx="89233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Moon_report_19.txt</a:t>
            </a:r>
            <a:r>
              <a:rPr lang="he-IL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contains the information in lunar centric (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  <a:hlinkClick r:id="rId5"/>
              </a:rPr>
              <a:t>J2000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) coordinates</a:t>
            </a:r>
            <a:endParaRPr lang="en-IL" dirty="0"/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0A4F6862-9696-4B9D-8002-EA2688769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" y="2111885"/>
            <a:ext cx="9144000" cy="200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316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Google Shape;237;p27"/>
          <p:cNvPicPr preferRelativeResize="0"/>
          <p:nvPr/>
        </p:nvPicPr>
        <p:blipFill rotWithShape="1">
          <a:blip r:embed="rId3">
            <a:alphaModFix/>
          </a:blip>
          <a:srcRect t="77980" b="1482"/>
          <a:stretch/>
        </p:blipFill>
        <p:spPr>
          <a:xfrm>
            <a:off x="0" y="0"/>
            <a:ext cx="9145191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" name="Google Shape;238;p2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1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27"/>
          <p:cNvSpPr txBox="1"/>
          <p:nvPr/>
        </p:nvSpPr>
        <p:spPr>
          <a:xfrm>
            <a:off x="2287191" y="3027760"/>
            <a:ext cx="4575572" cy="669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50"/>
              <a:buFont typeface="Arial"/>
              <a:buNone/>
            </a:pPr>
            <a:r>
              <a:rPr lang="en" sz="225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האקתון מבית תוכנית מושל </a:t>
            </a:r>
            <a:endParaRPr/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Arial"/>
              <a:buNone/>
            </a:pPr>
            <a:r>
              <a:rPr lang="en" sz="15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 נובמבר 2022</a:t>
            </a:r>
            <a:endParaRPr/>
          </a:p>
        </p:txBody>
      </p:sp>
      <p:sp>
        <p:nvSpPr>
          <p:cNvPr id="240" name="Google Shape;240;p27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" name="Google Shape;241;p27"/>
          <p:cNvSpPr txBox="1"/>
          <p:nvPr/>
        </p:nvSpPr>
        <p:spPr>
          <a:xfrm>
            <a:off x="2651523" y="379810"/>
            <a:ext cx="5920978" cy="4904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50"/>
              <a:buFont typeface="Arial"/>
              <a:buNone/>
            </a:pPr>
            <a:r>
              <a:rPr lang="he-IL" sz="2250" b="0" i="0" u="none" strike="noStrike" cap="none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מודל תלת </a:t>
            </a:r>
            <a:r>
              <a:rPr lang="he-IL" sz="2250" b="0" i="0" u="none" strike="noStrike" cap="none" dirty="0" err="1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מימד</a:t>
            </a:r>
            <a:r>
              <a:rPr lang="he-IL" sz="2250" b="0" i="0" u="none" strike="noStrike" cap="none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 של בראשית2</a:t>
            </a:r>
            <a:endParaRPr sz="2250" b="0" i="0" u="none" strike="noStrike" cap="none" dirty="0">
              <a:solidFill>
                <a:srgbClr val="FFFFFF"/>
              </a:solidFill>
              <a:latin typeface="Heebo Medium"/>
              <a:ea typeface="Heebo Medium"/>
              <a:cs typeface="Heebo Medium"/>
              <a:sym typeface="Heebo Medium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3C28A429-D6CD-A37F-8000-9E19FEA694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4487" y="1482176"/>
            <a:ext cx="5695025" cy="352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707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Google Shape;237;p27"/>
          <p:cNvPicPr preferRelativeResize="0"/>
          <p:nvPr/>
        </p:nvPicPr>
        <p:blipFill rotWithShape="1">
          <a:blip r:embed="rId3">
            <a:alphaModFix/>
          </a:blip>
          <a:srcRect t="77980" b="1482"/>
          <a:stretch/>
        </p:blipFill>
        <p:spPr>
          <a:xfrm>
            <a:off x="0" y="0"/>
            <a:ext cx="9145191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" name="Google Shape;238;p2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1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40" name="Google Shape;240;p27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" name="Google Shape;241;p27"/>
          <p:cNvSpPr txBox="1"/>
          <p:nvPr/>
        </p:nvSpPr>
        <p:spPr>
          <a:xfrm>
            <a:off x="2651523" y="379810"/>
            <a:ext cx="5920978" cy="4904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50"/>
              <a:buFont typeface="Arial"/>
              <a:buNone/>
            </a:pPr>
            <a:r>
              <a:rPr lang="he-IL" sz="2250" b="0" i="0" u="none" strike="noStrike" cap="none" dirty="0">
                <a:solidFill>
                  <a:srgbClr val="FFFFFF"/>
                </a:solidFill>
                <a:latin typeface="Heebo Medium"/>
                <a:ea typeface="Heebo Medium"/>
                <a:cs typeface="Heebo Medium"/>
                <a:sym typeface="Heebo Medium"/>
              </a:rPr>
              <a:t>דוגמאות לטכנולוגיות רלוונטיות לשימוש</a:t>
            </a:r>
            <a:endParaRPr sz="2250" b="0" i="0" u="none" strike="noStrike" cap="none" dirty="0">
              <a:solidFill>
                <a:srgbClr val="FFFFFF"/>
              </a:solidFill>
              <a:latin typeface="Heebo Medium"/>
              <a:ea typeface="Heebo Medium"/>
              <a:cs typeface="Heebo Medium"/>
              <a:sym typeface="Heebo Medium"/>
            </a:endParaRPr>
          </a:p>
        </p:txBody>
      </p:sp>
      <p:pic>
        <p:nvPicPr>
          <p:cNvPr id="3" name="תמונה 2">
            <a:extLst>
              <a:ext uri="{FF2B5EF4-FFF2-40B4-BE49-F238E27FC236}">
                <a16:creationId xmlns:a16="http://schemas.microsoft.com/office/drawing/2014/main" id="{98DBC566-99A9-F50A-90C2-931F9C2315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3211" y="1532564"/>
            <a:ext cx="1639026" cy="684115"/>
          </a:xfrm>
          <a:prstGeom prst="rect">
            <a:avLst/>
          </a:prstGeom>
        </p:spPr>
      </p:pic>
      <p:pic>
        <p:nvPicPr>
          <p:cNvPr id="5" name="תמונה 4">
            <a:extLst>
              <a:ext uri="{FF2B5EF4-FFF2-40B4-BE49-F238E27FC236}">
                <a16:creationId xmlns:a16="http://schemas.microsoft.com/office/drawing/2014/main" id="{A1F7034B-EAE1-5C66-7ACE-C494CA2ED1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95597" y="2571750"/>
            <a:ext cx="2142263" cy="1082967"/>
          </a:xfrm>
          <a:prstGeom prst="rect">
            <a:avLst/>
          </a:prstGeom>
        </p:spPr>
      </p:pic>
      <p:pic>
        <p:nvPicPr>
          <p:cNvPr id="7" name="גרפיקה 6">
            <a:extLst>
              <a:ext uri="{FF2B5EF4-FFF2-40B4-BE49-F238E27FC236}">
                <a16:creationId xmlns:a16="http://schemas.microsoft.com/office/drawing/2014/main" id="{1AF1C72C-1B31-617A-B92C-29B5D5D9B6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98978" y="4040067"/>
            <a:ext cx="2211036" cy="413905"/>
          </a:xfrm>
          <a:prstGeom prst="rect">
            <a:avLst/>
          </a:prstGeom>
        </p:spPr>
      </p:pic>
      <p:pic>
        <p:nvPicPr>
          <p:cNvPr id="11" name="תמונה 10">
            <a:extLst>
              <a:ext uri="{FF2B5EF4-FFF2-40B4-BE49-F238E27FC236}">
                <a16:creationId xmlns:a16="http://schemas.microsoft.com/office/drawing/2014/main" id="{ACDD59F6-29F8-27B7-4A70-7A7DD22CE9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29789" y="1202823"/>
            <a:ext cx="2734402" cy="1314006"/>
          </a:xfrm>
          <a:prstGeom prst="rect">
            <a:avLst/>
          </a:prstGeom>
        </p:spPr>
      </p:pic>
      <p:pic>
        <p:nvPicPr>
          <p:cNvPr id="1026" name="Picture 2" descr="download.blender.org/branding/blender_logo_sock...">
            <a:extLst>
              <a:ext uri="{FF2B5EF4-FFF2-40B4-BE49-F238E27FC236}">
                <a16:creationId xmlns:a16="http://schemas.microsoft.com/office/drawing/2014/main" id="{49198132-ADDA-4B8C-840E-9F4754FB1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09" y="1406129"/>
            <a:ext cx="2655592" cy="811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ua (programming language) - Wikipedia">
            <a:extLst>
              <a:ext uri="{FF2B5EF4-FFF2-40B4-BE49-F238E27FC236}">
                <a16:creationId xmlns:a16="http://schemas.microsoft.com/office/drawing/2014/main" id="{47D10D76-D64A-4CB0-8918-35C5BD224B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05" y="3775505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EDFC5A97-A3EB-4BBA-8287-D33CC6939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699" y="3672805"/>
            <a:ext cx="912495" cy="9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Unleashing the Power of 3D Internet | Blend4Web">
            <a:extLst>
              <a:ext uri="{FF2B5EF4-FFF2-40B4-BE49-F238E27FC236}">
                <a16:creationId xmlns:a16="http://schemas.microsoft.com/office/drawing/2014/main" id="{BE1A243C-575A-4205-A01B-6AF804CD18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95" y="2531745"/>
            <a:ext cx="2354619" cy="1122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FBDB1E64-8540-489A-97E6-A804FD71F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447" y="2829878"/>
            <a:ext cx="1905000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תיבת טקסט 1">
            <a:extLst>
              <a:ext uri="{FF2B5EF4-FFF2-40B4-BE49-F238E27FC236}">
                <a16:creationId xmlns:a16="http://schemas.microsoft.com/office/drawing/2014/main" id="{9E80966C-FEEB-4949-9215-57D0BACE7E9E}"/>
              </a:ext>
            </a:extLst>
          </p:cNvPr>
          <p:cNvSpPr txBox="1"/>
          <p:nvPr/>
        </p:nvSpPr>
        <p:spPr>
          <a:xfrm>
            <a:off x="979805" y="4810693"/>
            <a:ext cx="87953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e-IL" dirty="0"/>
              <a:t>ניתן להשתמש בכל טכנולוגיה שתרצו ומתאימה לפתרון הבעיה ,גם אם הלוגו שלה לא מופיע ברשימה</a:t>
            </a:r>
            <a:endParaRPr lang="en-IL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541;p49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2" name="Google Shape;542;p49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endParaRPr/>
          </a:p>
        </p:txBody>
      </p:sp>
      <p:pic>
        <p:nvPicPr>
          <p:cNvPr id="543" name="Google Shape;543;p49"/>
          <p:cNvPicPr preferRelativeResize="0"/>
          <p:nvPr/>
        </p:nvPicPr>
        <p:blipFill rotWithShape="1">
          <a:blip r:embed="rId3">
            <a:alphaModFix/>
          </a:blip>
          <a:srcRect b="21658"/>
          <a:stretch/>
        </p:blipFill>
        <p:spPr>
          <a:xfrm>
            <a:off x="0" y="-17859"/>
            <a:ext cx="9144000" cy="5148263"/>
          </a:xfrm>
          <a:prstGeom prst="rect">
            <a:avLst/>
          </a:prstGeom>
          <a:noFill/>
          <a:ln>
            <a:noFill/>
          </a:ln>
        </p:spPr>
      </p:pic>
      <p:pic>
        <p:nvPicPr>
          <p:cNvPr id="544" name="Google Shape;544;p4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64719" y="937022"/>
            <a:ext cx="2214563" cy="1795463"/>
          </a:xfrm>
          <a:prstGeom prst="rect">
            <a:avLst/>
          </a:prstGeom>
          <a:noFill/>
          <a:ln>
            <a:noFill/>
          </a:ln>
        </p:spPr>
      </p:pic>
      <p:sp>
        <p:nvSpPr>
          <p:cNvPr id="545" name="Google Shape;545;p49"/>
          <p:cNvSpPr txBox="1"/>
          <p:nvPr/>
        </p:nvSpPr>
        <p:spPr>
          <a:xfrm>
            <a:off x="2287191" y="3027760"/>
            <a:ext cx="4575572" cy="900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50" b="0" i="0" u="none" strike="noStrike" cap="none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תודה רבה</a:t>
            </a:r>
            <a:endParaRPr sz="2250" b="0" i="0" u="none" strike="noStrike" cap="none">
              <a:solidFill>
                <a:srgbClr val="FFFFFF"/>
              </a:solidFill>
              <a:latin typeface="Heebo"/>
              <a:ea typeface="Heebo"/>
              <a:cs typeface="Heebo"/>
              <a:sym typeface="Heebo"/>
            </a:endParaRPr>
          </a:p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 b="0" i="0" u="none" strike="noStrike" cap="none">
                <a:solidFill>
                  <a:srgbClr val="FFFFFF"/>
                </a:solidFill>
                <a:latin typeface="Heebo"/>
                <a:ea typeface="Heebo"/>
                <a:cs typeface="Heebo"/>
                <a:sym typeface="Heebo"/>
              </a:rPr>
              <a:t> </a:t>
            </a:r>
            <a:br>
              <a:rPr lang="en" sz="2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endParaRPr sz="1500" b="0" i="0" u="none" strike="noStrike" cap="none">
              <a:solidFill>
                <a:srgbClr val="FFFFFF"/>
              </a:solidFill>
              <a:latin typeface="Heebo"/>
              <a:ea typeface="Heebo"/>
              <a:cs typeface="Heebo"/>
              <a:sym typeface="Heebo"/>
            </a:endParaRPr>
          </a:p>
        </p:txBody>
      </p:sp>
      <p:pic>
        <p:nvPicPr>
          <p:cNvPr id="546" name="Google Shape;546;p4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4604" y="465535"/>
            <a:ext cx="1315640" cy="47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47" name="Google Shape;547;p49"/>
          <p:cNvSpPr txBox="1"/>
          <p:nvPr/>
        </p:nvSpPr>
        <p:spPr>
          <a:xfrm>
            <a:off x="11701463" y="4854178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48" name="Google Shape;548;p49" descr="A picture containing text, clipart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92591" y="4481931"/>
            <a:ext cx="1095375" cy="266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" name="Google Shape;288;gff69f9064e_0_361"/>
          <p:cNvPicPr preferRelativeResize="0"/>
          <p:nvPr/>
        </p:nvPicPr>
        <p:blipFill rotWithShape="1">
          <a:blip r:embed="rId3">
            <a:alphaModFix/>
          </a:blip>
          <a:srcRect t="77981" b="1480"/>
          <a:stretch/>
        </p:blipFill>
        <p:spPr>
          <a:xfrm>
            <a:off x="1" y="0"/>
            <a:ext cx="9145190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9" name="Google Shape;289;gff69f9064e_0_36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2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290" name="Google Shape;290;gff69f9064e_0_361"/>
          <p:cNvSpPr txBox="1"/>
          <p:nvPr/>
        </p:nvSpPr>
        <p:spPr>
          <a:xfrm>
            <a:off x="11701463" y="4854178"/>
            <a:ext cx="138150" cy="276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>
              <a:buSzPts val="1800"/>
            </a:pPr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gff69f9064e_0_361"/>
          <p:cNvSpPr txBox="1"/>
          <p:nvPr/>
        </p:nvSpPr>
        <p:spPr>
          <a:xfrm>
            <a:off x="2651522" y="379810"/>
            <a:ext cx="5920875" cy="415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buClr>
                <a:srgbClr val="FFFFFF"/>
              </a:buClr>
              <a:buSzPts val="2000"/>
            </a:pPr>
            <a:r>
              <a:rPr lang="he-IL" sz="2250" dirty="0">
                <a:solidFill>
                  <a:srgbClr val="FFFFFF"/>
                </a:solidFill>
                <a:latin typeface="Heebo Medium"/>
                <a:cs typeface="Heebo Medium"/>
                <a:sym typeface="Heebo Medium"/>
              </a:rPr>
              <a:t>המשימה</a:t>
            </a:r>
            <a:endParaRPr sz="2250" dirty="0">
              <a:solidFill>
                <a:srgbClr val="FFFFFF"/>
              </a:solidFill>
              <a:latin typeface="Heebo Medium"/>
              <a:cs typeface="Heebo Medium"/>
              <a:sym typeface="Heebo"/>
            </a:endParaRPr>
          </a:p>
        </p:txBody>
      </p:sp>
      <p:sp>
        <p:nvSpPr>
          <p:cNvPr id="292" name="Google Shape;292;gff69f9064e_0_361"/>
          <p:cNvSpPr txBox="1"/>
          <p:nvPr/>
        </p:nvSpPr>
        <p:spPr>
          <a:xfrm>
            <a:off x="629841" y="1697831"/>
            <a:ext cx="7942725" cy="259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lnSpc>
                <a:spcPct val="115000"/>
              </a:lnSpc>
            </a:pPr>
            <a:r>
              <a:rPr lang="iw-IL" sz="2250" b="1" dirty="0">
                <a:latin typeface="Heebo"/>
                <a:ea typeface="Heebo"/>
                <a:cs typeface="Heebo"/>
                <a:sym typeface="Heebo"/>
              </a:rPr>
              <a:t>באתגר זה תפתחו כלי שיאפשר לכל העולם לעקוב אחרי המיקום של בראשית</a:t>
            </a:r>
            <a:r>
              <a:rPr lang="he-IL" sz="2250" b="1" dirty="0">
                <a:latin typeface="Heebo"/>
                <a:ea typeface="Heebo"/>
                <a:cs typeface="Heebo"/>
                <a:sym typeface="Heebo"/>
              </a:rPr>
              <a:t>2</a:t>
            </a:r>
            <a:r>
              <a:rPr lang="iw-IL" sz="2250" b="1" dirty="0">
                <a:latin typeface="Heebo"/>
                <a:ea typeface="Heebo"/>
                <a:cs typeface="Heebo"/>
                <a:sym typeface="Heebo"/>
              </a:rPr>
              <a:t> בזמן אמת בדרכה אל הירח.</a:t>
            </a:r>
            <a:endParaRPr sz="2250" b="1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lnSpc>
                <a:spcPct val="115000"/>
              </a:lnSpc>
            </a:pPr>
            <a:endParaRPr sz="1650" b="1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lnSpc>
                <a:spcPct val="115000"/>
              </a:lnSpc>
            </a:pP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זוהי ההזדמנות שלכם לכתוב תוכנה או אפליקציה שתקבל מ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-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 SpaceIL 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 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את המיקום של החללית דרך</a:t>
            </a:r>
            <a:r>
              <a:rPr lang="en-US" sz="1650" dirty="0">
                <a:latin typeface="Heebo"/>
                <a:ea typeface="Heebo"/>
                <a:cs typeface="Heebo"/>
                <a:sym typeface="Heebo"/>
              </a:rPr>
              <a:t> 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קבצי </a:t>
            </a:r>
            <a:r>
              <a:rPr lang="en-US" sz="1650" dirty="0">
                <a:latin typeface="Heebo"/>
                <a:ea typeface="Heebo"/>
                <a:cs typeface="Heebo"/>
                <a:sym typeface="Heebo"/>
              </a:rPr>
              <a:t>DATA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 שתקבלו מראש,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 ולהוביל לבניית ממשק שינגיש את המידע הזה לציבור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.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 </a:t>
            </a:r>
            <a:endParaRPr sz="1650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lnSpc>
                <a:spcPct val="115000"/>
              </a:lnSpc>
            </a:pPr>
            <a:r>
              <a:rPr lang="iw-IL" sz="1500" dirty="0">
                <a:latin typeface="Heebo"/>
                <a:ea typeface="Heebo"/>
                <a:cs typeface="Heebo"/>
                <a:sym typeface="Heebo"/>
              </a:rPr>
              <a:t>​</a:t>
            </a:r>
            <a:endParaRPr sz="1500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lnSpc>
                <a:spcPct val="115000"/>
              </a:lnSpc>
            </a:pP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 </a:t>
            </a:r>
            <a:endParaRPr sz="1650" dirty="0">
              <a:latin typeface="Heebo"/>
              <a:ea typeface="Heebo"/>
              <a:cs typeface="Heebo"/>
              <a:sym typeface="Heebo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ff69f9064e_0_451"/>
          <p:cNvSpPr txBox="1"/>
          <p:nvPr/>
        </p:nvSpPr>
        <p:spPr>
          <a:xfrm>
            <a:off x="447872" y="1623108"/>
            <a:ext cx="8124525" cy="1897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lnSpc>
                <a:spcPct val="115000"/>
              </a:lnSpc>
              <a:spcBef>
                <a:spcPts val="750"/>
              </a:spcBef>
            </a:pPr>
            <a:r>
              <a:rPr lang="iw-IL" sz="2100" b="1" dirty="0">
                <a:latin typeface="Heebo"/>
                <a:ea typeface="Heebo"/>
                <a:cs typeface="Heebo"/>
                <a:sym typeface="Heebo"/>
              </a:rPr>
              <a:t>אבטיפוס שיציג ויזואליזציה של מיקומים על בסיס דאטה</a:t>
            </a:r>
            <a:r>
              <a:rPr lang="he-IL" sz="2100" b="1" dirty="0">
                <a:latin typeface="Heebo"/>
                <a:ea typeface="Heebo"/>
                <a:cs typeface="Heebo"/>
                <a:sym typeface="Heebo"/>
              </a:rPr>
              <a:t> של חודשיים וחצי,</a:t>
            </a:r>
            <a:r>
              <a:rPr lang="iw-IL" sz="2100" b="1" dirty="0">
                <a:latin typeface="Heebo"/>
                <a:ea typeface="Heebo"/>
                <a:cs typeface="Heebo"/>
                <a:sym typeface="Heebo"/>
              </a:rPr>
              <a:t> בליווי הצגה (Pitch)</a:t>
            </a:r>
            <a:r>
              <a:rPr lang="he-IL" sz="2100" b="1" dirty="0">
                <a:latin typeface="Heebo"/>
                <a:ea typeface="Heebo"/>
                <a:cs typeface="Heebo"/>
                <a:sym typeface="Heebo"/>
              </a:rPr>
              <a:t> </a:t>
            </a:r>
            <a:r>
              <a:rPr lang="iw-IL" sz="2100" b="1" dirty="0">
                <a:latin typeface="Heebo"/>
                <a:ea typeface="Heebo"/>
                <a:cs typeface="Heebo"/>
                <a:sym typeface="Heebo"/>
              </a:rPr>
              <a:t>המסבירה את הרציונל של הפרויקט ומדגימה את האבטיפוס בפעולה.</a:t>
            </a:r>
            <a:endParaRPr sz="2100" b="1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lnSpc>
                <a:spcPct val="115000"/>
              </a:lnSpc>
            </a:pPr>
            <a:endParaRPr sz="1800" b="1" dirty="0">
              <a:latin typeface="Heebo"/>
              <a:ea typeface="Heebo"/>
              <a:cs typeface="Heebo"/>
              <a:sym typeface="Heebo"/>
            </a:endParaRPr>
          </a:p>
          <a:p>
            <a:pPr marR="133350" algn="r" defTabSz="685800" rtl="1">
              <a:lnSpc>
                <a:spcPct val="115000"/>
              </a:lnSpc>
            </a:pPr>
            <a:endParaRPr sz="1650" dirty="0">
              <a:latin typeface="Heebo"/>
              <a:ea typeface="Heebo"/>
              <a:cs typeface="Heebo"/>
              <a:sym typeface="Heebo"/>
            </a:endParaRPr>
          </a:p>
        </p:txBody>
      </p:sp>
      <p:pic>
        <p:nvPicPr>
          <p:cNvPr id="300" name="Google Shape;300;gff69f9064e_0_451"/>
          <p:cNvPicPr preferRelativeResize="0"/>
          <p:nvPr/>
        </p:nvPicPr>
        <p:blipFill rotWithShape="1">
          <a:blip r:embed="rId3">
            <a:alphaModFix/>
          </a:blip>
          <a:srcRect t="77981" b="1480"/>
          <a:stretch/>
        </p:blipFill>
        <p:spPr>
          <a:xfrm>
            <a:off x="1" y="0"/>
            <a:ext cx="9145190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Google Shape;301;gff69f9064e_0_45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2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Google Shape;302;gff69f9064e_0_451"/>
          <p:cNvSpPr txBox="1"/>
          <p:nvPr/>
        </p:nvSpPr>
        <p:spPr>
          <a:xfrm>
            <a:off x="11701463" y="4854178"/>
            <a:ext cx="138150" cy="276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>
              <a:buSzPts val="1800"/>
            </a:pPr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3" name="Google Shape;303;gff69f9064e_0_451"/>
          <p:cNvPicPr preferRelativeResize="0"/>
          <p:nvPr/>
        </p:nvPicPr>
        <p:blipFill rotWithShape="1">
          <a:blip r:embed="rId5">
            <a:alphaModFix/>
          </a:blip>
          <a:srcRect t="897" r="229" b="502"/>
          <a:stretch/>
        </p:blipFill>
        <p:spPr>
          <a:xfrm flipH="1">
            <a:off x="515551" y="3027769"/>
            <a:ext cx="3242624" cy="2149068"/>
          </a:xfrm>
          <a:prstGeom prst="rect">
            <a:avLst/>
          </a:prstGeom>
          <a:noFill/>
          <a:ln>
            <a:noFill/>
          </a:ln>
        </p:spPr>
      </p:pic>
      <p:sp>
        <p:nvSpPr>
          <p:cNvPr id="304" name="Google Shape;304;gff69f9064e_0_451"/>
          <p:cNvSpPr txBox="1"/>
          <p:nvPr/>
        </p:nvSpPr>
        <p:spPr>
          <a:xfrm>
            <a:off x="2651522" y="379810"/>
            <a:ext cx="5920875" cy="415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buClr>
                <a:srgbClr val="FFFFFF"/>
              </a:buClr>
              <a:buSzPts val="2000"/>
            </a:pPr>
            <a:r>
              <a:rPr lang="he-IL" sz="2250" dirty="0">
                <a:solidFill>
                  <a:srgbClr val="FFFFFF"/>
                </a:solidFill>
                <a:latin typeface="Heebo Medium"/>
                <a:cs typeface="Heebo Medium"/>
                <a:sym typeface="Heebo Medium"/>
              </a:rPr>
              <a:t>תוצר</a:t>
            </a:r>
            <a:endParaRPr sz="2250" dirty="0">
              <a:solidFill>
                <a:srgbClr val="FFFFFF"/>
              </a:solidFill>
              <a:latin typeface="Heebo Medium"/>
              <a:cs typeface="Heebo Medium"/>
              <a:sym typeface="Heebo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ff69f9064e_0_451"/>
          <p:cNvSpPr txBox="1"/>
          <p:nvPr/>
        </p:nvSpPr>
        <p:spPr>
          <a:xfrm>
            <a:off x="421781" y="1398938"/>
            <a:ext cx="8124525" cy="2723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lnSpc>
                <a:spcPct val="115000"/>
              </a:lnSpc>
            </a:pPr>
            <a:endParaRPr sz="1800" b="1" dirty="0">
              <a:latin typeface="Heebo"/>
              <a:ea typeface="Heebo"/>
              <a:cs typeface="Heebo"/>
              <a:sym typeface="Heebo"/>
            </a:endParaRPr>
          </a:p>
          <a:p>
            <a:pPr marL="342900" marR="133350" indent="-276225" algn="r" defTabSz="685800" rtl="1">
              <a:lnSpc>
                <a:spcPct val="115000"/>
              </a:lnSpc>
              <a:buSzPts val="2200"/>
              <a:buFont typeface="Heebo"/>
              <a:buChar char="●"/>
            </a:pPr>
            <a:r>
              <a:rPr lang="he-IL" sz="1650" dirty="0" err="1">
                <a:latin typeface="Heebo"/>
                <a:ea typeface="Heebo"/>
                <a:cs typeface="Heebo"/>
                <a:sym typeface="Heebo"/>
              </a:rPr>
              <a:t>וובינר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 הכנה</a:t>
            </a:r>
            <a:endParaRPr sz="1650" dirty="0">
              <a:latin typeface="Heebo"/>
              <a:ea typeface="Heebo"/>
              <a:cs typeface="Heebo"/>
              <a:sym typeface="Heebo"/>
            </a:endParaRPr>
          </a:p>
          <a:p>
            <a:pPr marL="342900" marR="133350" indent="-276225" algn="r" defTabSz="685800" rtl="1">
              <a:lnSpc>
                <a:spcPct val="115000"/>
              </a:lnSpc>
              <a:buSzPts val="2200"/>
              <a:buFont typeface="Heebo"/>
              <a:buChar char="●"/>
            </a:pP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דאטה לעיבוד מבראשית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1</a:t>
            </a:r>
            <a:endParaRPr sz="1650" dirty="0">
              <a:latin typeface="Heebo"/>
              <a:ea typeface="Heebo"/>
              <a:cs typeface="Heebo"/>
              <a:sym typeface="Heebo"/>
            </a:endParaRPr>
          </a:p>
          <a:p>
            <a:pPr marL="342900" marR="133350" indent="-276225" algn="r" defTabSz="685800" rtl="1">
              <a:lnSpc>
                <a:spcPct val="115000"/>
              </a:lnSpc>
              <a:buSzPts val="2200"/>
              <a:buFont typeface="Heebo"/>
              <a:buChar char="●"/>
            </a:pP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מידע על 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סוגי 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החיישנים שיהיו 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על החללית</a:t>
            </a:r>
          </a:p>
          <a:p>
            <a:pPr marL="342900" marR="133350" indent="-276225" algn="r" defTabSz="685800" rtl="1">
              <a:lnSpc>
                <a:spcPct val="115000"/>
              </a:lnSpc>
              <a:buSzPts val="2200"/>
              <a:buFont typeface="Heebo"/>
              <a:buChar char="●"/>
            </a:pP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מודל תלת </a:t>
            </a:r>
            <a:r>
              <a:rPr lang="he-IL" sz="1650" dirty="0" err="1">
                <a:latin typeface="Heebo"/>
                <a:ea typeface="Heebo"/>
                <a:cs typeface="Heebo"/>
                <a:sym typeface="Heebo"/>
              </a:rPr>
              <a:t>מימד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 של החללית</a:t>
            </a:r>
          </a:p>
          <a:p>
            <a:pPr marL="342900" marR="133350" indent="-276225" algn="r" defTabSz="685800" rtl="1">
              <a:lnSpc>
                <a:spcPct val="115000"/>
              </a:lnSpc>
              <a:buSzPts val="2200"/>
              <a:buFont typeface="Heebo"/>
              <a:buChar char="●"/>
            </a:pPr>
            <a:r>
              <a:rPr lang="he-IL" sz="1650" dirty="0" err="1">
                <a:latin typeface="Heebo"/>
                <a:ea typeface="Heebo"/>
                <a:cs typeface="Heebo"/>
                <a:sym typeface="Heebo"/>
              </a:rPr>
              <a:t>מנטורים</a:t>
            </a: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 במהלך </a:t>
            </a:r>
            <a:r>
              <a:rPr lang="he-IL" sz="1650" dirty="0" err="1">
                <a:latin typeface="Heebo"/>
                <a:ea typeface="Heebo"/>
                <a:cs typeface="Heebo"/>
                <a:sym typeface="Heebo"/>
              </a:rPr>
              <a:t>ההאקתון</a:t>
            </a:r>
            <a:endParaRPr lang="he-IL" sz="1650" dirty="0">
              <a:latin typeface="Heebo"/>
              <a:ea typeface="Heebo"/>
              <a:cs typeface="Heebo"/>
              <a:sym typeface="Heebo"/>
            </a:endParaRPr>
          </a:p>
          <a:p>
            <a:pPr marL="66675" marR="133350" algn="r" defTabSz="685800" rtl="1">
              <a:lnSpc>
                <a:spcPct val="115000"/>
              </a:lnSpc>
              <a:buSzPts val="2200"/>
            </a:pPr>
            <a:endParaRPr sz="1650" dirty="0">
              <a:latin typeface="Heebo"/>
              <a:ea typeface="Heebo"/>
              <a:cs typeface="Heebo"/>
              <a:sym typeface="Heebo"/>
            </a:endParaRPr>
          </a:p>
          <a:p>
            <a:pPr marL="66675" marR="133350" algn="r" defTabSz="685800" rtl="1">
              <a:lnSpc>
                <a:spcPct val="115000"/>
              </a:lnSpc>
              <a:buSzPts val="2200"/>
            </a:pPr>
            <a:r>
              <a:rPr lang="he-IL" sz="1650" dirty="0">
                <a:latin typeface="Heebo"/>
                <a:ea typeface="Heebo"/>
                <a:cs typeface="Heebo"/>
                <a:sym typeface="Heebo"/>
              </a:rPr>
              <a:t>*</a:t>
            </a:r>
            <a:r>
              <a:rPr lang="iw-IL" sz="1650" dirty="0">
                <a:latin typeface="Heebo"/>
                <a:ea typeface="Heebo"/>
                <a:cs typeface="Heebo"/>
                <a:sym typeface="Heebo"/>
              </a:rPr>
              <a:t>תידרשו להביא עמכם לפטופים חזקים בהתאם</a:t>
            </a:r>
            <a:endParaRPr sz="1650" dirty="0">
              <a:latin typeface="Heebo"/>
              <a:ea typeface="Heebo"/>
              <a:cs typeface="Heebo"/>
              <a:sym typeface="Heebo"/>
            </a:endParaRPr>
          </a:p>
          <a:p>
            <a:pPr marR="133350" algn="r" defTabSz="685800" rtl="1">
              <a:lnSpc>
                <a:spcPct val="115000"/>
              </a:lnSpc>
            </a:pPr>
            <a:endParaRPr sz="1650" dirty="0">
              <a:latin typeface="Heebo"/>
              <a:ea typeface="Heebo"/>
              <a:cs typeface="Heebo"/>
              <a:sym typeface="Heebo"/>
            </a:endParaRPr>
          </a:p>
        </p:txBody>
      </p:sp>
      <p:pic>
        <p:nvPicPr>
          <p:cNvPr id="300" name="Google Shape;300;gff69f9064e_0_451"/>
          <p:cNvPicPr preferRelativeResize="0"/>
          <p:nvPr/>
        </p:nvPicPr>
        <p:blipFill rotWithShape="1">
          <a:blip r:embed="rId3">
            <a:alphaModFix/>
          </a:blip>
          <a:srcRect t="77981" b="1480"/>
          <a:stretch/>
        </p:blipFill>
        <p:spPr>
          <a:xfrm>
            <a:off x="1" y="0"/>
            <a:ext cx="9145190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Google Shape;301;gff69f9064e_0_45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9841" y="286942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Google Shape;302;gff69f9064e_0_451"/>
          <p:cNvSpPr txBox="1"/>
          <p:nvPr/>
        </p:nvSpPr>
        <p:spPr>
          <a:xfrm>
            <a:off x="11701463" y="4854178"/>
            <a:ext cx="138150" cy="276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>
              <a:buSzPts val="1800"/>
            </a:pPr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3" name="Google Shape;303;gff69f9064e_0_451"/>
          <p:cNvPicPr preferRelativeResize="0"/>
          <p:nvPr/>
        </p:nvPicPr>
        <p:blipFill rotWithShape="1">
          <a:blip r:embed="rId5">
            <a:alphaModFix/>
          </a:blip>
          <a:srcRect t="897" r="229" b="502"/>
          <a:stretch/>
        </p:blipFill>
        <p:spPr>
          <a:xfrm flipH="1">
            <a:off x="515551" y="3027769"/>
            <a:ext cx="3242624" cy="2149068"/>
          </a:xfrm>
          <a:prstGeom prst="rect">
            <a:avLst/>
          </a:prstGeom>
          <a:noFill/>
          <a:ln>
            <a:noFill/>
          </a:ln>
        </p:spPr>
      </p:pic>
      <p:sp>
        <p:nvSpPr>
          <p:cNvPr id="304" name="Google Shape;304;gff69f9064e_0_451"/>
          <p:cNvSpPr txBox="1"/>
          <p:nvPr/>
        </p:nvSpPr>
        <p:spPr>
          <a:xfrm>
            <a:off x="2651522" y="379810"/>
            <a:ext cx="5920875" cy="415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buClr>
                <a:srgbClr val="FFFFFF"/>
              </a:buClr>
              <a:buSzPts val="2000"/>
            </a:pPr>
            <a:r>
              <a:rPr lang="he-IL" sz="2250" dirty="0">
                <a:solidFill>
                  <a:srgbClr val="FFFFFF"/>
                </a:solidFill>
                <a:latin typeface="Heebo Medium"/>
                <a:cs typeface="Heebo Medium"/>
                <a:sym typeface="Heebo Medium"/>
              </a:rPr>
              <a:t>כלים</a:t>
            </a:r>
            <a:endParaRPr sz="2250" dirty="0">
              <a:solidFill>
                <a:srgbClr val="FFFFFF"/>
              </a:solidFill>
              <a:latin typeface="Heebo Medium"/>
              <a:cs typeface="Heebo Medium"/>
              <a:sym typeface="Heebo"/>
            </a:endParaRPr>
          </a:p>
        </p:txBody>
      </p:sp>
    </p:spTree>
    <p:extLst>
      <p:ext uri="{BB962C8B-B14F-4D97-AF65-F5344CB8AC3E}">
        <p14:creationId xmlns:p14="http://schemas.microsoft.com/office/powerpoint/2010/main" val="2449463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gff69f9064e_0_233"/>
          <p:cNvSpPr txBox="1"/>
          <p:nvPr/>
        </p:nvSpPr>
        <p:spPr>
          <a:xfrm>
            <a:off x="421781" y="1456088"/>
            <a:ext cx="8124525" cy="2949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/>
            <a:r>
              <a:rPr lang="iw-IL" sz="1500" b="1" dirty="0">
                <a:latin typeface="Heebo"/>
                <a:ea typeface="Heebo"/>
                <a:cs typeface="Heebo"/>
                <a:sym typeface="Heebo"/>
              </a:rPr>
              <a:t>	</a:t>
            </a:r>
            <a:endParaRPr sz="1500" b="1" dirty="0">
              <a:latin typeface="Heebo"/>
              <a:ea typeface="Heebo"/>
              <a:cs typeface="Heebo"/>
              <a:sym typeface="Heebo"/>
            </a:endParaRPr>
          </a:p>
          <a:p>
            <a:pPr algn="r" defTabSz="685800" rtl="1">
              <a:spcBef>
                <a:spcPts val="750"/>
              </a:spcBef>
            </a:pPr>
            <a:r>
              <a:rPr lang="he-IL" sz="1800" b="1" dirty="0">
                <a:latin typeface="Heebo"/>
                <a:cs typeface="Heebo"/>
                <a:sym typeface="Heebo"/>
              </a:rPr>
              <a:t>30%</a:t>
            </a:r>
            <a:r>
              <a:rPr lang="he-IL" sz="2400" dirty="0">
                <a:latin typeface="Heebo"/>
                <a:ea typeface="Heebo"/>
                <a:cs typeface="Heebo"/>
                <a:sym typeface="Heebo"/>
              </a:rPr>
              <a:t>  </a:t>
            </a:r>
            <a:r>
              <a:rPr lang="he-IL" sz="1800" dirty="0">
                <a:latin typeface="Heebo"/>
                <a:cs typeface="Heebo"/>
                <a:sym typeface="Heebo"/>
              </a:rPr>
              <a:t>תוצר העונה על הצורך שעלה</a:t>
            </a:r>
          </a:p>
          <a:p>
            <a:pPr algn="r" defTabSz="685800" rtl="1">
              <a:spcBef>
                <a:spcPts val="750"/>
              </a:spcBef>
            </a:pPr>
            <a:r>
              <a:rPr lang="he-IL" sz="1800" dirty="0">
                <a:latin typeface="Heebo"/>
                <a:cs typeface="Heebo"/>
                <a:sym typeface="Heebo"/>
              </a:rPr>
              <a:t> </a:t>
            </a:r>
          </a:p>
          <a:p>
            <a:pPr marR="133350" algn="r" defTabSz="685800" rtl="1">
              <a:lnSpc>
                <a:spcPct val="115000"/>
              </a:lnSpc>
              <a:spcBef>
                <a:spcPts val="750"/>
              </a:spcBef>
            </a:pPr>
            <a:r>
              <a:rPr lang="he-IL" sz="1800" b="1" dirty="0">
                <a:latin typeface="Heebo"/>
                <a:ea typeface="Heebo"/>
                <a:cs typeface="Heebo"/>
                <a:sym typeface="Heebo"/>
              </a:rPr>
              <a:t>30%</a:t>
            </a:r>
            <a:r>
              <a:rPr lang="he-IL" sz="1800" dirty="0">
                <a:latin typeface="Heebo"/>
                <a:ea typeface="Heebo"/>
                <a:cs typeface="Heebo"/>
                <a:sym typeface="Heebo"/>
              </a:rPr>
              <a:t>  ישימות     </a:t>
            </a:r>
            <a:r>
              <a:rPr lang="he-IL" sz="1800" b="1" dirty="0">
                <a:latin typeface="Heebo"/>
                <a:ea typeface="Heebo"/>
                <a:cs typeface="Heebo"/>
                <a:sym typeface="Heebo"/>
              </a:rPr>
              <a:t> </a:t>
            </a:r>
          </a:p>
          <a:p>
            <a:pPr marR="133350" algn="r" defTabSz="685800" rtl="1">
              <a:lnSpc>
                <a:spcPct val="115000"/>
              </a:lnSpc>
              <a:spcBef>
                <a:spcPts val="750"/>
              </a:spcBef>
            </a:pPr>
            <a:endParaRPr sz="1800" b="1" dirty="0">
              <a:latin typeface="Heebo"/>
              <a:ea typeface="Heebo"/>
              <a:cs typeface="Heebo"/>
              <a:sym typeface="Heebo"/>
            </a:endParaRPr>
          </a:p>
          <a:p>
            <a:pPr marR="133350" algn="r" defTabSz="685800" rtl="1">
              <a:lnSpc>
                <a:spcPct val="115000"/>
              </a:lnSpc>
            </a:pPr>
            <a:r>
              <a:rPr lang="iw-IL" sz="1800" b="1" dirty="0">
                <a:latin typeface="Heebo"/>
                <a:ea typeface="Heebo"/>
                <a:cs typeface="Heebo"/>
                <a:sym typeface="Heebo"/>
              </a:rPr>
              <a:t>30%</a:t>
            </a:r>
            <a:r>
              <a:rPr lang="he-IL" sz="1800" dirty="0">
                <a:latin typeface="Heebo"/>
                <a:ea typeface="Heebo"/>
                <a:cs typeface="Heebo"/>
                <a:sym typeface="Heebo"/>
              </a:rPr>
              <a:t> </a:t>
            </a:r>
            <a:r>
              <a:rPr lang="iw-IL" sz="1800" dirty="0">
                <a:latin typeface="Heebo"/>
                <a:ea typeface="Heebo"/>
                <a:cs typeface="Heebo"/>
                <a:sym typeface="Heebo"/>
              </a:rPr>
              <a:t>חווית משתמש וערך מוסף     </a:t>
            </a:r>
            <a:endParaRPr sz="1800" dirty="0">
              <a:latin typeface="Heebo"/>
              <a:ea typeface="Heebo"/>
              <a:cs typeface="Heebo"/>
              <a:sym typeface="Heebo"/>
            </a:endParaRPr>
          </a:p>
          <a:p>
            <a:pPr marR="133350" algn="r" defTabSz="685800" rtl="1">
              <a:lnSpc>
                <a:spcPct val="115000"/>
              </a:lnSpc>
            </a:pPr>
            <a:endParaRPr sz="1800" b="1" dirty="0">
              <a:latin typeface="Heebo"/>
              <a:ea typeface="Heebo"/>
              <a:cs typeface="Heebo"/>
              <a:sym typeface="Heebo"/>
            </a:endParaRPr>
          </a:p>
          <a:p>
            <a:pPr marR="133350" algn="r" defTabSz="685800" rtl="1">
              <a:lnSpc>
                <a:spcPct val="115000"/>
              </a:lnSpc>
            </a:pPr>
            <a:r>
              <a:rPr lang="iw-IL" sz="1800" b="1" dirty="0">
                <a:latin typeface="Heebo"/>
                <a:ea typeface="Heebo"/>
                <a:cs typeface="Heebo"/>
                <a:sym typeface="Heebo"/>
              </a:rPr>
              <a:t>10% </a:t>
            </a:r>
            <a:r>
              <a:rPr lang="he-IL" sz="1800" b="1" dirty="0">
                <a:latin typeface="Heebo"/>
                <a:ea typeface="Heebo"/>
                <a:cs typeface="Heebo"/>
                <a:sym typeface="Heebo"/>
              </a:rPr>
              <a:t> </a:t>
            </a:r>
            <a:r>
              <a:rPr lang="iw-IL" sz="1800" dirty="0">
                <a:latin typeface="Heebo"/>
                <a:ea typeface="Heebo"/>
                <a:cs typeface="Heebo"/>
                <a:sym typeface="Heebo"/>
              </a:rPr>
              <a:t>יצירתיות</a:t>
            </a:r>
            <a:endParaRPr sz="1800" dirty="0">
              <a:latin typeface="Heebo"/>
              <a:ea typeface="Heebo"/>
              <a:cs typeface="Heebo"/>
              <a:sym typeface="Heebo"/>
            </a:endParaRPr>
          </a:p>
        </p:txBody>
      </p:sp>
      <p:pic>
        <p:nvPicPr>
          <p:cNvPr id="312" name="Google Shape;312;gff69f9064e_0_233"/>
          <p:cNvPicPr preferRelativeResize="0"/>
          <p:nvPr/>
        </p:nvPicPr>
        <p:blipFill rotWithShape="1">
          <a:blip r:embed="rId4">
            <a:alphaModFix/>
          </a:blip>
          <a:srcRect t="77981" b="1480"/>
          <a:stretch/>
        </p:blipFill>
        <p:spPr>
          <a:xfrm>
            <a:off x="1" y="0"/>
            <a:ext cx="9145190" cy="1350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13" name="Google Shape;313;gff69f9064e_0_23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9841" y="286942"/>
            <a:ext cx="1025128" cy="832247"/>
          </a:xfrm>
          <a:prstGeom prst="rect">
            <a:avLst/>
          </a:prstGeom>
          <a:noFill/>
          <a:ln>
            <a:noFill/>
          </a:ln>
        </p:spPr>
      </p:pic>
      <p:sp>
        <p:nvSpPr>
          <p:cNvPr id="314" name="Google Shape;314;gff69f9064e_0_233"/>
          <p:cNvSpPr txBox="1"/>
          <p:nvPr/>
        </p:nvSpPr>
        <p:spPr>
          <a:xfrm>
            <a:off x="11701463" y="4854178"/>
            <a:ext cx="138150" cy="276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defTabSz="685800">
              <a:buSzPts val="1800"/>
            </a:pPr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gff69f9064e_0_233"/>
          <p:cNvSpPr txBox="1"/>
          <p:nvPr/>
        </p:nvSpPr>
        <p:spPr>
          <a:xfrm>
            <a:off x="2651522" y="356758"/>
            <a:ext cx="5920875" cy="415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r" defTabSz="685800" rtl="1">
              <a:buClr>
                <a:srgbClr val="FFFFFF"/>
              </a:buClr>
              <a:buSzPts val="2000"/>
            </a:pPr>
            <a:r>
              <a:rPr lang="he-IL" sz="2250" dirty="0">
                <a:solidFill>
                  <a:srgbClr val="FFFFFF"/>
                </a:solidFill>
                <a:latin typeface="Heebo Medium"/>
                <a:cs typeface="Heebo Medium"/>
                <a:sym typeface="Heebo Medium"/>
              </a:rPr>
              <a:t>מדדי שיפוט</a:t>
            </a:r>
            <a:endParaRPr sz="2250" dirty="0">
              <a:solidFill>
                <a:srgbClr val="FFFFFF"/>
              </a:solidFill>
              <a:latin typeface="Heebo Medium"/>
              <a:cs typeface="Heebo Medium"/>
              <a:sym typeface="Heebo"/>
            </a:endParaRPr>
          </a:p>
        </p:txBody>
      </p:sp>
    </p:spTree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12000" b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D44E78-3D2C-444E-BD57-91E532A7E4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8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7" imgW="359" imgH="358" progId="TCLayout.ActiveDocument.1">
                  <p:embed/>
                </p:oleObj>
              </mc:Choice>
              <mc:Fallback>
                <p:oleObj name="think-cell Slide" r:id="rId7" imgW="359" imgH="35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D44E78-3D2C-444E-BD57-91E532A7E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418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9050AD6-6860-48C1-B40F-62408AB511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99699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143" b="1" kern="1200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503D25-BBFE-4C84-99E6-ED39F3DF73DE}"/>
              </a:ext>
            </a:extLst>
          </p:cNvPr>
          <p:cNvSpPr/>
          <p:nvPr/>
        </p:nvSpPr>
        <p:spPr>
          <a:xfrm>
            <a:off x="1143203" y="1"/>
            <a:ext cx="6857595" cy="626841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9699" fontAlgn="base">
              <a:spcBef>
                <a:spcPct val="0"/>
              </a:spcBef>
              <a:spcAft>
                <a:spcPct val="0"/>
              </a:spcAft>
              <a:buClrTx/>
            </a:pPr>
            <a:endParaRPr lang="en-US" sz="1224" kern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A97710-6666-44CA-9F63-9DFF00DAF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4314" y="176149"/>
            <a:ext cx="6595196" cy="329729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AUNCH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70006" y="1224946"/>
            <a:ext cx="1005089" cy="5651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99699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24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Secondary payload</a:t>
            </a:r>
          </a:p>
          <a:p>
            <a:pPr defTabSz="699699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224" kern="1200" dirty="0">
                <a:solidFill>
                  <a:srgbClr val="FFFFFF"/>
                </a:solidFill>
                <a:latin typeface="Arial" charset="0"/>
                <a:ea typeface="+mn-ea"/>
                <a:cs typeface="+mn-cs"/>
              </a:rPr>
              <a:t>FALCON 9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0FDA5A8D-B2D5-4518-A5C2-282E74349A0C}"/>
              </a:ext>
            </a:extLst>
          </p:cNvPr>
          <p:cNvGrpSpPr/>
          <p:nvPr/>
        </p:nvGrpSpPr>
        <p:grpSpPr>
          <a:xfrm>
            <a:off x="1205512" y="55753"/>
            <a:ext cx="2022791" cy="504725"/>
            <a:chOff x="7711775" y="1328510"/>
            <a:chExt cx="2643363" cy="659570"/>
          </a:xfrm>
        </p:grpSpPr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id="{C621A246-2921-4C86-A080-4C0148644462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021" t="14135" r="14797" b="27348"/>
            <a:stretch/>
          </p:blipFill>
          <p:spPr>
            <a:xfrm>
              <a:off x="9501548" y="1492018"/>
              <a:ext cx="853590" cy="496062"/>
            </a:xfrm>
            <a:prstGeom prst="rect">
              <a:avLst/>
            </a:prstGeom>
            <a:effectLst>
              <a:reflection blurRad="6350" stA="50000" endA="300" endPos="55000" dir="5400000" sy="-100000" algn="bl" rotWithShape="0"/>
            </a:effectLst>
          </p:spPr>
        </p:pic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4B706C76-417E-47BD-BF2B-4DA1979680FD}"/>
                </a:ext>
              </a:extLst>
            </p:cNvPr>
            <p:cNvGrpSpPr/>
            <p:nvPr/>
          </p:nvGrpSpPr>
          <p:grpSpPr>
            <a:xfrm>
              <a:off x="9501548" y="1328510"/>
              <a:ext cx="853590" cy="133543"/>
              <a:chOff x="9501548" y="1328510"/>
              <a:chExt cx="853590" cy="133543"/>
            </a:xfrm>
          </p:grpSpPr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4FC0E2F9-7D27-4301-8192-CD03C3292E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01548" y="1328510"/>
                <a:ext cx="853590" cy="13354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612" kern="12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E84101A5-D0CA-4D71-AA54-BB9A0354E8C1}"/>
                  </a:ext>
                </a:extLst>
              </p:cNvPr>
              <p:cNvSpPr txBox="1"/>
              <p:nvPr/>
            </p:nvSpPr>
            <p:spPr>
              <a:xfrm>
                <a:off x="9738809" y="1333725"/>
                <a:ext cx="379068" cy="1230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r>
                  <a:rPr lang="he-IL" sz="612" b="1" kern="1200" dirty="0">
                    <a:solidFill>
                      <a:srgbClr val="FFFFFF"/>
                    </a:solidFill>
                    <a:latin typeface="Arial" charset="0"/>
                    <a:ea typeface="+mn-ea"/>
                    <a:cs typeface="+mn-cs"/>
                  </a:rPr>
                  <a:t>שיגור</a:t>
                </a:r>
                <a:endParaRPr lang="en-US" sz="612" b="1" kern="1200" dirty="0">
                  <a:solidFill>
                    <a:srgbClr val="FFFFFF"/>
                  </a:solidFill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FF1D6553-5077-44BE-B487-7514361CC4DA}"/>
                </a:ext>
              </a:extLst>
            </p:cNvPr>
            <p:cNvGrpSpPr/>
            <p:nvPr/>
          </p:nvGrpSpPr>
          <p:grpSpPr>
            <a:xfrm>
              <a:off x="8904958" y="1667917"/>
              <a:ext cx="550914" cy="320163"/>
              <a:chOff x="5356480" y="308462"/>
              <a:chExt cx="853590" cy="496062"/>
            </a:xfrm>
          </p:grpSpPr>
          <p:pic>
            <p:nvPicPr>
              <p:cNvPr id="189" name="תמונה 23">
                <a:hlinkClick r:id="" action="ppaction://noaction"/>
                <a:extLst>
                  <a:ext uri="{FF2B5EF4-FFF2-40B4-BE49-F238E27FC236}">
                    <a16:creationId xmlns:a16="http://schemas.microsoft.com/office/drawing/2014/main" id="{C3C68541-A674-4D1F-9991-099886BB4B11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0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4394" t="29917" b="25730"/>
              <a:stretch/>
            </p:blipFill>
            <p:spPr>
              <a:xfrm>
                <a:off x="5356480" y="308462"/>
                <a:ext cx="853590" cy="496062"/>
              </a:xfrm>
              <a:prstGeom prst="rect">
                <a:avLst/>
              </a:prstGeom>
              <a:effectLst>
                <a:outerShdw blurRad="203200" dir="13500000" sy="23000" kx="1200000" algn="br" rotWithShape="0">
                  <a:schemeClr val="bg1">
                    <a:lumMod val="50000"/>
                    <a:alpha val="20000"/>
                  </a:schemeClr>
                </a:outerShdw>
              </a:effectLst>
            </p:spPr>
          </p:pic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31ED1091-26C7-4FF0-8974-45344146A77C}"/>
                  </a:ext>
                </a:extLst>
              </p:cNvPr>
              <p:cNvGrpSpPr/>
              <p:nvPr/>
            </p:nvGrpSpPr>
            <p:grpSpPr>
              <a:xfrm>
                <a:off x="5413814" y="380985"/>
                <a:ext cx="738922" cy="351016"/>
                <a:chOff x="3286855" y="1515133"/>
                <a:chExt cx="2508473" cy="1191621"/>
              </a:xfrm>
            </p:grpSpPr>
            <p:pic>
              <p:nvPicPr>
                <p:cNvPr id="191" name="תמונה 3">
                  <a:extLst>
                    <a:ext uri="{FF2B5EF4-FFF2-40B4-BE49-F238E27FC236}">
                      <a16:creationId xmlns:a16="http://schemas.microsoft.com/office/drawing/2014/main" id="{5D845B89-AFCA-42BC-BA0F-0CAC0102A8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07594" y="2270886"/>
                  <a:ext cx="378054" cy="435868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  <p:pic>
              <p:nvPicPr>
                <p:cNvPr id="192" name="תמונה 5">
                  <a:extLst>
                    <a:ext uri="{FF2B5EF4-FFF2-40B4-BE49-F238E27FC236}">
                      <a16:creationId xmlns:a16="http://schemas.microsoft.com/office/drawing/2014/main" id="{3A0C854A-661A-4832-AC8D-835217D60F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8990" y="1515133"/>
                  <a:ext cx="95300" cy="109874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  <p:pic>
              <p:nvPicPr>
                <p:cNvPr id="193" name="גרפיקה 1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7673B32-E92D-43D4-9F83-4D4ADC9DFF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screen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86855" y="1545993"/>
                  <a:ext cx="2508473" cy="1115929"/>
                </a:xfrm>
                <a:prstGeom prst="rect">
                  <a:avLst/>
                </a:prstGeom>
                <a:effectLst>
                  <a:outerShdw blurRad="203200" dir="13500000" sy="23000" kx="1200000" algn="br" rotWithShape="0">
                    <a:schemeClr val="bg1">
                      <a:lumMod val="50000"/>
                      <a:alpha val="20000"/>
                    </a:schemeClr>
                  </a:outerShdw>
                </a:effectLst>
              </p:spPr>
            </p:pic>
          </p:grpSp>
        </p:grp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72DB1884-5E08-44FD-86AE-21EB5924C2B3}"/>
                </a:ext>
              </a:extLst>
            </p:cNvPr>
            <p:cNvSpPr>
              <a:spLocks/>
            </p:cNvSpPr>
            <p:nvPr/>
          </p:nvSpPr>
          <p:spPr>
            <a:xfrm>
              <a:off x="8904958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612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A0C2CE38-171F-43F8-92D5-39E098E40FBA}"/>
                </a:ext>
              </a:extLst>
            </p:cNvPr>
            <p:cNvSpPr txBox="1"/>
            <p:nvPr/>
          </p:nvSpPr>
          <p:spPr>
            <a:xfrm>
              <a:off x="8988496" y="1574705"/>
              <a:ext cx="383838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ניווט ולכידת הירח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28E37D1D-FC0F-4486-8FC4-0E832F906CBC}"/>
                </a:ext>
              </a:extLst>
            </p:cNvPr>
            <p:cNvSpPr>
              <a:spLocks/>
            </p:cNvSpPr>
            <p:nvPr/>
          </p:nvSpPr>
          <p:spPr>
            <a:xfrm>
              <a:off x="7711776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306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B4A7B005-D6CE-48AF-973B-C72567530A54}"/>
                </a:ext>
              </a:extLst>
            </p:cNvPr>
            <p:cNvSpPr txBox="1"/>
            <p:nvPr/>
          </p:nvSpPr>
          <p:spPr>
            <a:xfrm>
              <a:off x="7806234" y="1574705"/>
              <a:ext cx="361999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נחיתה אוטונומית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A39F3072-6544-4B73-804E-40D3C59A9598}"/>
                </a:ext>
              </a:extLst>
            </p:cNvPr>
            <p:cNvPicPr>
              <a:picLocks/>
            </p:cNvPicPr>
            <p:nvPr/>
          </p:nvPicPr>
          <p:blipFill>
            <a:blip r:embed="rId1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1775" y="1667917"/>
              <a:ext cx="550914" cy="320163"/>
            </a:xfrm>
            <a:prstGeom prst="rect">
              <a:avLst/>
            </a:prstGeom>
          </p:spPr>
        </p:pic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E3CB2450-1410-4336-8974-44927F301C41}"/>
                </a:ext>
              </a:extLst>
            </p:cNvPr>
            <p:cNvSpPr>
              <a:spLocks/>
            </p:cNvSpPr>
            <p:nvPr/>
          </p:nvSpPr>
          <p:spPr>
            <a:xfrm>
              <a:off x="8308367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306" kern="12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07A227EF-8469-491D-AE33-4661A97D97DF}"/>
                </a:ext>
              </a:extLst>
            </p:cNvPr>
            <p:cNvSpPr txBox="1"/>
            <p:nvPr/>
          </p:nvSpPr>
          <p:spPr>
            <a:xfrm>
              <a:off x="8391521" y="1574705"/>
              <a:ext cx="384607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תקשורת / מעקב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188" name="Picture 187">
              <a:extLst>
                <a:ext uri="{FF2B5EF4-FFF2-40B4-BE49-F238E27FC236}">
                  <a16:creationId xmlns:a16="http://schemas.microsoft.com/office/drawing/2014/main" id="{2DB43FDA-E34A-4294-BF77-A12861E581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7"/>
            <a:stretch/>
          </p:blipFill>
          <p:spPr>
            <a:xfrm>
              <a:off x="8308367" y="1667917"/>
              <a:ext cx="550914" cy="320163"/>
            </a:xfrm>
            <a:prstGeom prst="rect">
              <a:avLst/>
            </a:prstGeom>
          </p:spPr>
        </p:pic>
      </p:grpSp>
      <p:pic>
        <p:nvPicPr>
          <p:cNvPr id="7" name="תמונה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314" y="732303"/>
            <a:ext cx="2143387" cy="321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02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CABF54-346E-462A-8287-4A1647CE6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8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7" imgW="359" imgH="358" progId="TCLayout.ActiveDocument.1">
                  <p:embed/>
                </p:oleObj>
              </mc:Choice>
              <mc:Fallback>
                <p:oleObj name="think-cell Slide" r:id="rId7" imgW="359" imgH="35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CABF54-346E-462A-8287-4A1647CE6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418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סרטון מסלול ערוך_גרסה1">
            <a:hlinkClick r:id="" action="ppaction://media"/>
            <a:extLst>
              <a:ext uri="{FF2B5EF4-FFF2-40B4-BE49-F238E27FC236}">
                <a16:creationId xmlns:a16="http://schemas.microsoft.com/office/drawing/2014/main" id="{83361038-16EC-443B-BF83-DE7382EAF80C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43203" y="304"/>
            <a:ext cx="6857595" cy="5143197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4588D8E-28B6-4A23-9D15-674A0B7E0DA4}"/>
              </a:ext>
            </a:extLst>
          </p:cNvPr>
          <p:cNvGrpSpPr/>
          <p:nvPr/>
        </p:nvGrpSpPr>
        <p:grpSpPr>
          <a:xfrm>
            <a:off x="6611964" y="645383"/>
            <a:ext cx="1388834" cy="720110"/>
            <a:chOff x="7146524" y="843379"/>
            <a:chExt cx="1814914" cy="94103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9CDE2E0-D3DA-4BB7-934E-4A906085AF3F}"/>
                </a:ext>
              </a:extLst>
            </p:cNvPr>
            <p:cNvSpPr/>
            <p:nvPr/>
          </p:nvSpPr>
          <p:spPr>
            <a:xfrm>
              <a:off x="7146524" y="843379"/>
              <a:ext cx="1814914" cy="94103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</a:pPr>
              <a:endParaRPr lang="en-US" sz="1224" kern="12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89FEF31-CC5C-4C9D-8A97-152F5760F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clrChange>
                <a:clrFrom>
                  <a:srgbClr val="FFFEFC"/>
                </a:clrFrom>
                <a:clrTo>
                  <a:srgbClr val="FF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3436" y="1120565"/>
              <a:ext cx="1621090" cy="38666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4882E5B-3DDA-4384-BFEA-14990ACB95C8}"/>
              </a:ext>
            </a:extLst>
          </p:cNvPr>
          <p:cNvGrpSpPr/>
          <p:nvPr/>
        </p:nvGrpSpPr>
        <p:grpSpPr>
          <a:xfrm>
            <a:off x="1205512" y="55753"/>
            <a:ext cx="2022791" cy="504725"/>
            <a:chOff x="4586616" y="1328510"/>
            <a:chExt cx="2643363" cy="659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6FC375F-D081-4911-A7D1-577851FB0EDF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021" t="14135" r="14797" b="27348"/>
            <a:stretch/>
          </p:blipFill>
          <p:spPr>
            <a:xfrm>
              <a:off x="6679065" y="1667917"/>
              <a:ext cx="550914" cy="320163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7455F5F-CA9B-413B-856A-9248128099AF}"/>
                </a:ext>
              </a:extLst>
            </p:cNvPr>
            <p:cNvGrpSpPr/>
            <p:nvPr/>
          </p:nvGrpSpPr>
          <p:grpSpPr>
            <a:xfrm>
              <a:off x="5779799" y="1328510"/>
              <a:ext cx="853590" cy="133543"/>
              <a:chOff x="5779799" y="1328510"/>
              <a:chExt cx="853590" cy="133543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C12CE6D-5066-40B6-84AE-BDA2A29644C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79799" y="1328510"/>
                <a:ext cx="853590" cy="13354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  <a:defRPr/>
                </a:pPr>
                <a:endParaRPr lang="en-US" sz="612" kern="12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7B568E3-B97D-41C9-A959-8D4F612AF725}"/>
                  </a:ext>
                </a:extLst>
              </p:cNvPr>
              <p:cNvSpPr txBox="1"/>
              <p:nvPr/>
            </p:nvSpPr>
            <p:spPr>
              <a:xfrm>
                <a:off x="5817662" y="1333725"/>
                <a:ext cx="777864" cy="1230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99699" fontAlgn="base">
                  <a:spcBef>
                    <a:spcPct val="0"/>
                  </a:spcBef>
                  <a:spcAft>
                    <a:spcPct val="0"/>
                  </a:spcAft>
                  <a:buClrTx/>
                </a:pPr>
                <a:r>
                  <a:rPr lang="he-IL" sz="612" b="1" kern="1200" dirty="0">
                    <a:solidFill>
                      <a:srgbClr val="FFFFFF"/>
                    </a:solidFill>
                    <a:latin typeface="Arial" charset="0"/>
                    <a:ea typeface="+mn-ea"/>
                    <a:cs typeface="+mn-cs"/>
                  </a:rPr>
                  <a:t>ניווט ולכידת הירח</a:t>
                </a:r>
              </a:p>
            </p:txBody>
          </p:sp>
        </p:grpSp>
        <p:pic>
          <p:nvPicPr>
            <p:cNvPr id="11" name="תמונה 23">
              <a:hlinkClick r:id="" action="ppaction://noaction"/>
              <a:extLst>
                <a:ext uri="{FF2B5EF4-FFF2-40B4-BE49-F238E27FC236}">
                  <a16:creationId xmlns:a16="http://schemas.microsoft.com/office/drawing/2014/main" id="{1E4221E6-A421-4F3C-BAE6-40E7973BDF22}"/>
                </a:ext>
              </a:extLst>
            </p:cNvPr>
            <p:cNvPicPr>
              <a:picLocks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394" t="29917" b="25730"/>
            <a:stretch/>
          </p:blipFill>
          <p:spPr>
            <a:xfrm>
              <a:off x="5779799" y="1492018"/>
              <a:ext cx="853590" cy="496062"/>
            </a:xfrm>
            <a:prstGeom prst="rect">
              <a:avLst/>
            </a:prstGeom>
            <a:effectLst>
              <a:outerShdw blurRad="203200" dir="13500000" sy="23000" kx="1200000" algn="br" rotWithShape="0">
                <a:schemeClr val="bg1">
                  <a:lumMod val="50000"/>
                  <a:alpha val="20000"/>
                </a:schemeClr>
              </a:outerShdw>
            </a:effectLst>
          </p:spPr>
        </p:pic>
        <p:pic>
          <p:nvPicPr>
            <p:cNvPr id="12" name="תמונה 3">
              <a:extLst>
                <a:ext uri="{FF2B5EF4-FFF2-40B4-BE49-F238E27FC236}">
                  <a16:creationId xmlns:a16="http://schemas.microsoft.com/office/drawing/2014/main" id="{3DFE381E-F6BF-479D-9CFE-4CDD55D591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7146" y="1789251"/>
              <a:ext cx="116297" cy="134082"/>
            </a:xfrm>
            <a:prstGeom prst="rect">
              <a:avLst/>
            </a:prstGeom>
            <a:effectLst>
              <a:outerShdw blurRad="203200" dir="13500000" sy="23000" kx="1200000" algn="br" rotWithShape="0">
                <a:schemeClr val="bg1">
                  <a:lumMod val="50000"/>
                  <a:alpha val="20000"/>
                </a:schemeClr>
              </a:outerShdw>
            </a:effectLst>
          </p:spPr>
        </p:pic>
        <p:pic>
          <p:nvPicPr>
            <p:cNvPr id="13" name="תמונה 5">
              <a:extLst>
                <a:ext uri="{FF2B5EF4-FFF2-40B4-BE49-F238E27FC236}">
                  <a16:creationId xmlns:a16="http://schemas.microsoft.com/office/drawing/2014/main" id="{888B61BC-A5A3-4E9F-8642-014AAD40F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9710" y="1556766"/>
              <a:ext cx="29316" cy="33799"/>
            </a:xfrm>
            <a:prstGeom prst="rect">
              <a:avLst/>
            </a:prstGeom>
            <a:effectLst>
              <a:outerShdw blurRad="203200" dir="13500000" sy="23000" kx="1200000" algn="br" rotWithShape="0">
                <a:schemeClr val="bg1">
                  <a:lumMod val="50000"/>
                  <a:alpha val="20000"/>
                </a:schemeClr>
              </a:outerShdw>
            </a:effectLst>
          </p:spPr>
        </p:pic>
        <p:pic>
          <p:nvPicPr>
            <p:cNvPr id="14" name="גרפיקה 19">
              <a:hlinkClick r:id="" action="ppaction://noaction"/>
              <a:extLst>
                <a:ext uri="{FF2B5EF4-FFF2-40B4-BE49-F238E27FC236}">
                  <a16:creationId xmlns:a16="http://schemas.microsoft.com/office/drawing/2014/main" id="{A4B28F8A-346F-4E3D-9C58-4E951CFDF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820766" y="1566259"/>
              <a:ext cx="771656" cy="343283"/>
            </a:xfrm>
            <a:prstGeom prst="rect">
              <a:avLst/>
            </a:prstGeom>
            <a:effectLst>
              <a:outerShdw blurRad="203200" dir="13500000" sy="23000" kx="1200000" algn="br" rotWithShape="0">
                <a:schemeClr val="bg1">
                  <a:lumMod val="50000"/>
                  <a:alpha val="20000"/>
                </a:schemeClr>
              </a:outerShdw>
            </a:effec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6BD982F-B11C-46DE-8770-1EA9C5B1AE74}"/>
                </a:ext>
              </a:extLst>
            </p:cNvPr>
            <p:cNvSpPr>
              <a:spLocks/>
            </p:cNvSpPr>
            <p:nvPr/>
          </p:nvSpPr>
          <p:spPr>
            <a:xfrm>
              <a:off x="6679065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612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79A7A69-91F7-4A20-9A9A-C6E8E4178BA3}"/>
                </a:ext>
              </a:extLst>
            </p:cNvPr>
            <p:cNvSpPr txBox="1"/>
            <p:nvPr/>
          </p:nvSpPr>
          <p:spPr>
            <a:xfrm>
              <a:off x="6762603" y="1574705"/>
              <a:ext cx="383838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שיגור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F258677-C569-4A98-A17D-7E699597A3E2}"/>
                </a:ext>
              </a:extLst>
            </p:cNvPr>
            <p:cNvSpPr>
              <a:spLocks/>
            </p:cNvSpPr>
            <p:nvPr/>
          </p:nvSpPr>
          <p:spPr>
            <a:xfrm>
              <a:off x="4586617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306" kern="1200" dirty="0">
                <a:solidFill>
                  <a:srgbClr val="FFFFFF">
                    <a:lumMod val="75000"/>
                  </a:srgbClr>
                </a:solidFill>
                <a:latin typeface="Arial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45B68FF-A0DE-4C29-AC48-E7623683407D}"/>
                </a:ext>
              </a:extLst>
            </p:cNvPr>
            <p:cNvSpPr txBox="1"/>
            <p:nvPr/>
          </p:nvSpPr>
          <p:spPr>
            <a:xfrm>
              <a:off x="4681075" y="1574705"/>
              <a:ext cx="361999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נחיתה אוטונומית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4519C69-EE96-4336-95DF-16691006A696}"/>
                </a:ext>
              </a:extLst>
            </p:cNvPr>
            <p:cNvPicPr>
              <a:picLocks/>
            </p:cNvPicPr>
            <p:nvPr/>
          </p:nvPicPr>
          <p:blipFill>
            <a:blip r:embed="rId1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616" y="1667917"/>
              <a:ext cx="550914" cy="320163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0C54D9C-07DF-48CF-8E83-93EE11516BAC}"/>
                </a:ext>
              </a:extLst>
            </p:cNvPr>
            <p:cNvSpPr>
              <a:spLocks/>
            </p:cNvSpPr>
            <p:nvPr/>
          </p:nvSpPr>
          <p:spPr>
            <a:xfrm>
              <a:off x="5183208" y="1562388"/>
              <a:ext cx="550914" cy="861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76" tIns="34288" rIns="68576" bIns="34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306" kern="12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DC3B128-1BDC-42B1-9BF1-08EC964331C3}"/>
                </a:ext>
              </a:extLst>
            </p:cNvPr>
            <p:cNvSpPr txBox="1"/>
            <p:nvPr/>
          </p:nvSpPr>
          <p:spPr>
            <a:xfrm>
              <a:off x="5266362" y="1574705"/>
              <a:ext cx="384607" cy="615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99699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he-IL" sz="306" b="1" kern="1200" dirty="0">
                  <a:solidFill>
                    <a:srgbClr val="FFFFFF">
                      <a:lumMod val="75000"/>
                    </a:srgbClr>
                  </a:solidFill>
                  <a:latin typeface="Arial" charset="0"/>
                  <a:ea typeface="+mn-ea"/>
                  <a:cs typeface="+mn-cs"/>
                </a:rPr>
                <a:t>תקשורת / מעקב</a:t>
              </a:r>
              <a:endParaRPr lang="en-US" sz="306" b="1" kern="12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E3136B3-1F93-4948-99F1-AF853A77F1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7"/>
            <a:stretch/>
          </p:blipFill>
          <p:spPr>
            <a:xfrm>
              <a:off x="5183208" y="1667917"/>
              <a:ext cx="550914" cy="3201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5237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97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ציין מיקום של מספר שקופית 3"/>
          <p:cNvSpPr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/>
          <a:lstStyle/>
          <a:p>
            <a:pPr defTabSz="699699" fontAlgn="base">
              <a:buClrTx/>
            </a:pPr>
            <a:fld id="{00000000-1234-1234-1234-123412341234}" type="slidenum">
              <a:rPr lang="en-US" kern="1200"/>
              <a:pPr defTabSz="699699" fontAlgn="base">
                <a:buClrTx/>
              </a:pPr>
              <a:t>8</a:t>
            </a:fld>
            <a:endParaRPr lang="en-US" kern="1200"/>
          </a:p>
        </p:txBody>
      </p:sp>
      <p:pic>
        <p:nvPicPr>
          <p:cNvPr id="270338" name="Picture 2" descr="https://images1-ynet-prod.azureedge.net/PicServer5/2019/03/05/9101438/910143501002499640360n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163" y="43272"/>
            <a:ext cx="4128858" cy="2322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0342" name="Picture 6" descr="×ª××¦××ª ×ª××× × ×¢×××¨ âªspaceil moonâ¬â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481" y="2460975"/>
            <a:ext cx="4125317" cy="2580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8671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410" name="Picture 2" descr="×ª××¦××ª ×ª××× × ×¢×××¨ âªspaceil moonâ¬â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314" y="1"/>
            <a:ext cx="3554275" cy="2670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×ª××¦××ª ×ª××× × ×¢×××¨ âªspaceil moonâ¬â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057" y="2670150"/>
            <a:ext cx="4539740" cy="241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4392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UNY4fTAOymVMrIacUB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sxfY_VTP6Z1pSXksnA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ocus">
  <a:themeElements>
    <a:clrScheme name="Focus">
      <a:dk1>
        <a:srgbClr val="1B212C"/>
      </a:dk1>
      <a:lt1>
        <a:srgbClr val="FFFFFF"/>
      </a:lt1>
      <a:dk2>
        <a:srgbClr val="D9D9D9"/>
      </a:dk2>
      <a:lt2>
        <a:srgbClr val="82C7A5"/>
      </a:lt2>
      <a:accent1>
        <a:srgbClr val="0145AC"/>
      </a:accent1>
      <a:accent2>
        <a:srgbClr val="EECE1A"/>
      </a:accent2>
      <a:accent3>
        <a:srgbClr val="4E5567"/>
      </a:accent3>
      <a:accent4>
        <a:srgbClr val="F4D6AD"/>
      </a:accent4>
      <a:accent5>
        <a:srgbClr val="7890CD"/>
      </a:accent5>
      <a:accent6>
        <a:srgbClr val="F15E22"/>
      </a:accent6>
      <a:hlink>
        <a:srgbClr val="7890CD"/>
      </a:hlink>
      <a:folHlink>
        <a:srgbClr val="7890C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ערכת נושא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Firm Format - templateRL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 - RL" id="{F03B30B0-5E16-4514-AB22-836F88284CD7}" vid="{323A5DEA-EAA1-48D6-BEFF-5CAE0768D9F2}"/>
    </a:ext>
  </a:extLst>
</a:theme>
</file>

<file path=ppt/theme/theme5.xml><?xml version="1.0" encoding="utf-8"?>
<a:theme xmlns:a="http://schemas.openxmlformats.org/drawingml/2006/main" name="Firm Format - templateRL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 - RL" id="{F03B30B0-5E16-4514-AB22-836F88284CD7}" vid="{323A5DEA-EAA1-48D6-BEFF-5CAE0768D9F2}"/>
    </a:ext>
  </a:extLst>
</a:theme>
</file>

<file path=ppt/theme/theme6.xml><?xml version="1.0" encoding="utf-8"?>
<a:theme xmlns:a="http://schemas.openxmlformats.org/drawingml/2006/main" name="1_Firm Format - templateRL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 - RL" id="{F03B30B0-5E16-4514-AB22-836F88284CD7}" vid="{323A5DEA-EAA1-48D6-BEFF-5CAE0768D9F2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7</TotalTime>
  <Words>977</Words>
  <Application>Microsoft Office PowerPoint</Application>
  <PresentationFormat>‫הצגה על המסך (16:9)</PresentationFormat>
  <Paragraphs>118</Paragraphs>
  <Slides>18</Slides>
  <Notes>14</Notes>
  <HiddenSlides>0</HiddenSlides>
  <MMClips>1</MMClips>
  <ScaleCrop>false</ScaleCrop>
  <HeadingPairs>
    <vt:vector size="8" baseType="variant">
      <vt:variant>
        <vt:lpstr>גופנים בשימוש</vt:lpstr>
      </vt:variant>
      <vt:variant>
        <vt:i4>8</vt:i4>
      </vt:variant>
      <vt:variant>
        <vt:lpstr>ערכת נושא</vt:lpstr>
      </vt:variant>
      <vt:variant>
        <vt:i4>6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18</vt:i4>
      </vt:variant>
    </vt:vector>
  </HeadingPairs>
  <TitlesOfParts>
    <vt:vector size="33" baseType="lpstr">
      <vt:lpstr>Calibri</vt:lpstr>
      <vt:lpstr>Montserrat</vt:lpstr>
      <vt:lpstr>Arial</vt:lpstr>
      <vt:lpstr>Lato</vt:lpstr>
      <vt:lpstr>Avenir</vt:lpstr>
      <vt:lpstr>Heebo Medium</vt:lpstr>
      <vt:lpstr>Heebo</vt:lpstr>
      <vt:lpstr>Helvetica Neue</vt:lpstr>
      <vt:lpstr>Focus</vt:lpstr>
      <vt:lpstr>ערכת נושא Office</vt:lpstr>
      <vt:lpstr>Office Theme</vt:lpstr>
      <vt:lpstr>2_Firm Format - templateRL_Blue</vt:lpstr>
      <vt:lpstr>Firm Format - templateRL_Blue</vt:lpstr>
      <vt:lpstr>1_Firm Format - templateRL_Blue</vt:lpstr>
      <vt:lpstr>think-cell Slide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LAUNCH</vt:lpstr>
      <vt:lpstr>מצגת של PowerPoint‏</vt:lpstr>
      <vt:lpstr>מצגת של PowerPoint‏</vt:lpstr>
      <vt:lpstr>מצגת של PowerPoint‏</vt:lpstr>
      <vt:lpstr>פרופיל הנחיתה  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shmuel moha</dc:creator>
  <cp:lastModifiedBy>shmuel moha</cp:lastModifiedBy>
  <cp:revision>6</cp:revision>
  <dcterms:modified xsi:type="dcterms:W3CDTF">2022-11-02T18:37:00Z</dcterms:modified>
</cp:coreProperties>
</file>